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emf" ContentType="image/x-emf"/>
  <Default Extension="xls" ContentType="application/vnd.ms-excel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3.xml" ContentType="application/vnd.openxmlformats-officedocument.drawingml.chart+xml"/>
  <Override PartName="/ppt/notesSlides/notesSlide8.xml" ContentType="application/vnd.openxmlformats-officedocument.presentationml.notesSlide+xml"/>
  <Override PartName="/ppt/charts/chart4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6189" r:id="rId1"/>
    <p:sldMasterId id="2147486213" r:id="rId2"/>
    <p:sldMasterId id="2147486342" r:id="rId3"/>
    <p:sldMasterId id="2147486367" r:id="rId4"/>
    <p:sldMasterId id="2147486379" r:id="rId5"/>
  </p:sldMasterIdLst>
  <p:notesMasterIdLst>
    <p:notesMasterId r:id="rId25"/>
  </p:notesMasterIdLst>
  <p:sldIdLst>
    <p:sldId id="273" r:id="rId6"/>
    <p:sldId id="379" r:id="rId7"/>
    <p:sldId id="412" r:id="rId8"/>
    <p:sldId id="430" r:id="rId9"/>
    <p:sldId id="417" r:id="rId10"/>
    <p:sldId id="413" r:id="rId11"/>
    <p:sldId id="434" r:id="rId12"/>
    <p:sldId id="436" r:id="rId13"/>
    <p:sldId id="399" r:id="rId14"/>
    <p:sldId id="437" r:id="rId15"/>
    <p:sldId id="407" r:id="rId16"/>
    <p:sldId id="408" r:id="rId17"/>
    <p:sldId id="409" r:id="rId18"/>
    <p:sldId id="425" r:id="rId19"/>
    <p:sldId id="429" r:id="rId20"/>
    <p:sldId id="427" r:id="rId21"/>
    <p:sldId id="410" r:id="rId22"/>
    <p:sldId id="438" r:id="rId23"/>
    <p:sldId id="306" r:id="rId24"/>
  </p:sldIdLst>
  <p:sldSz cx="9144000" cy="6858000" type="screen4x3"/>
  <p:notesSz cx="6797675" cy="9928225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32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32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32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32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FFFF"/>
    <a:srgbClr val="00FF00"/>
    <a:srgbClr val="008000"/>
    <a:srgbClr val="0033CC"/>
    <a:srgbClr val="0000FF"/>
    <a:srgbClr val="CC00FF"/>
    <a:srgbClr val="CC0000"/>
    <a:srgbClr val="FF00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10A1B5D5-9B99-4C35-A422-299274C87663}" styleName="Средний стиль 1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FABFCF23-3B69-468F-B69F-88F6DE6A72F2}" styleName="Средний стиль 1 -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A107856-5554-42FB-B03E-39F5DBC370BA}" styleName="Средний стиль 4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641" autoAdjust="0"/>
    <p:restoredTop sz="75030" autoAdjust="0"/>
  </p:normalViewPr>
  <p:slideViewPr>
    <p:cSldViewPr>
      <p:cViewPr varScale="1">
        <p:scale>
          <a:sx n="78" d="100"/>
          <a:sy n="78" d="100"/>
        </p:scale>
        <p:origin x="-804" y="-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594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5130662486633614"/>
          <c:y val="2.8185113861468089E-2"/>
          <c:w val="0.69988310488966654"/>
          <c:h val="0.6654222006411777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8 год</c:v>
                </c:pt>
              </c:strCache>
            </c:strRef>
          </c:tx>
          <c:spPr>
            <a:solidFill>
              <a:srgbClr val="00FFFF"/>
            </a:solidFill>
          </c:spPr>
          <c:invertIfNegative val="0"/>
          <c:cat>
            <c:strRef>
              <c:f>Лист1!$A$2:$A$6</c:f>
              <c:strCache>
                <c:ptCount val="5"/>
                <c:pt idx="0">
                  <c:v>НДФЛ</c:v>
                </c:pt>
                <c:pt idx="1">
                  <c:v>УСНО</c:v>
                </c:pt>
                <c:pt idx="2">
                  <c:v>ЕНВД</c:v>
                </c:pt>
                <c:pt idx="3">
                  <c:v>Госпошлина</c:v>
                </c:pt>
                <c:pt idx="4">
                  <c:v>Акцизы 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320059.7</c:v>
                </c:pt>
                <c:pt idx="1">
                  <c:v>24205.3</c:v>
                </c:pt>
                <c:pt idx="2">
                  <c:v>21799.8</c:v>
                </c:pt>
                <c:pt idx="3">
                  <c:v>9715</c:v>
                </c:pt>
                <c:pt idx="4">
                  <c:v>0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9 год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</c:spPr>
          <c:invertIfNegative val="0"/>
          <c:cat>
            <c:strRef>
              <c:f>Лист1!$A$2:$A$6</c:f>
              <c:strCache>
                <c:ptCount val="5"/>
                <c:pt idx="0">
                  <c:v>НДФЛ</c:v>
                </c:pt>
                <c:pt idx="1">
                  <c:v>УСНО</c:v>
                </c:pt>
                <c:pt idx="2">
                  <c:v>ЕНВД</c:v>
                </c:pt>
                <c:pt idx="3">
                  <c:v>Госпошлина</c:v>
                </c:pt>
                <c:pt idx="4">
                  <c:v>Акцизы </c:v>
                </c:pt>
              </c:strCache>
            </c:str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336382.7</c:v>
                </c:pt>
                <c:pt idx="1">
                  <c:v>24572.7</c:v>
                </c:pt>
                <c:pt idx="2">
                  <c:v>22217.3</c:v>
                </c:pt>
                <c:pt idx="3">
                  <c:v>9740</c:v>
                </c:pt>
                <c:pt idx="4">
                  <c:v>1375.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4941184"/>
        <c:axId val="74942720"/>
      </c:barChart>
      <c:catAx>
        <c:axId val="74941184"/>
        <c:scaling>
          <c:orientation val="minMax"/>
        </c:scaling>
        <c:delete val="0"/>
        <c:axPos val="b"/>
        <c:majorTickMark val="out"/>
        <c:minorTickMark val="none"/>
        <c:tickLblPos val="nextTo"/>
        <c:spPr>
          <a:ln>
            <a:solidFill>
              <a:srgbClr val="0033CC"/>
            </a:solidFill>
          </a:ln>
        </c:spPr>
        <c:crossAx val="74942720"/>
        <c:crosses val="autoZero"/>
        <c:auto val="1"/>
        <c:lblAlgn val="ctr"/>
        <c:lblOffset val="100"/>
        <c:noMultiLvlLbl val="0"/>
      </c:catAx>
      <c:valAx>
        <c:axId val="74942720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74941184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spPr>
    <a:solidFill>
      <a:schemeClr val="accent5">
        <a:lumMod val="60000"/>
        <a:lumOff val="40000"/>
      </a:schemeClr>
    </a:solidFill>
  </c:spPr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редства МБ</c:v>
                </c:pt>
              </c:strCache>
            </c:strRef>
          </c:tx>
          <c:invertIfNegative val="0"/>
          <c:dLbls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4</c:f>
              <c:strCache>
                <c:ptCount val="3"/>
                <c:pt idx="0">
                  <c:v>РАСХОДЫ 2019 г</c:v>
                </c:pt>
                <c:pt idx="1">
                  <c:v>РАСХОДЫ 2020 год</c:v>
                </c:pt>
                <c:pt idx="2">
                  <c:v>РАСХОДЫ 2021 год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639.5</c:v>
                </c:pt>
                <c:pt idx="1">
                  <c:v>612.1</c:v>
                </c:pt>
                <c:pt idx="2">
                  <c:v>581.5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Целевые МБТ</c:v>
                </c:pt>
              </c:strCache>
            </c:strRef>
          </c:tx>
          <c:invertIfNegative val="0"/>
          <c:dLbls>
            <c:txPr>
              <a:bodyPr/>
              <a:lstStyle/>
              <a:p>
                <a:pPr>
                  <a:defRPr sz="1400" b="1" baseline="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4</c:f>
              <c:strCache>
                <c:ptCount val="3"/>
                <c:pt idx="0">
                  <c:v>РАСХОДЫ 2019 г</c:v>
                </c:pt>
                <c:pt idx="1">
                  <c:v>РАСХОДЫ 2020 год</c:v>
                </c:pt>
                <c:pt idx="2">
                  <c:v>РАСХОДЫ 2021 год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798.2</c:v>
                </c:pt>
                <c:pt idx="1">
                  <c:v>801.2</c:v>
                </c:pt>
                <c:pt idx="2">
                  <c:v>801.4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shape val="cylinder"/>
        <c:axId val="22821504"/>
        <c:axId val="22835584"/>
        <c:axId val="0"/>
      </c:bar3DChart>
      <c:catAx>
        <c:axId val="22821504"/>
        <c:scaling>
          <c:orientation val="minMax"/>
        </c:scaling>
        <c:delete val="0"/>
        <c:axPos val="b"/>
        <c:numFmt formatCode="\О\с\н\о\в\н\о\й" sourceLinked="1"/>
        <c:majorTickMark val="none"/>
        <c:minorTickMark val="none"/>
        <c:tickLblPos val="nextTo"/>
        <c:txPr>
          <a:bodyPr/>
          <a:lstStyle/>
          <a:p>
            <a:pPr>
              <a:defRPr sz="1200" b="1" i="0" baseline="0"/>
            </a:pPr>
            <a:endParaRPr lang="ru-RU"/>
          </a:p>
        </c:txPr>
        <c:crossAx val="22835584"/>
        <c:crosses val="autoZero"/>
        <c:auto val="1"/>
        <c:lblAlgn val="ctr"/>
        <c:lblOffset val="100"/>
        <c:noMultiLvlLbl val="0"/>
      </c:catAx>
      <c:valAx>
        <c:axId val="2283558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crossAx val="22821504"/>
        <c:crosses val="autoZero"/>
        <c:crossBetween val="between"/>
      </c:valAx>
      <c:spPr>
        <a:noFill/>
        <a:ln w="12436">
          <a:noFill/>
        </a:ln>
      </c:spPr>
    </c:plotArea>
    <c:legend>
      <c:legendPos val="b"/>
      <c:layout/>
      <c:overlay val="0"/>
      <c:txPr>
        <a:bodyPr/>
        <a:lstStyle/>
        <a:p>
          <a:pPr>
            <a:defRPr sz="1200" b="1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882"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5.8811120832118209E-2"/>
          <c:y val="9.4441762928760831E-2"/>
          <c:w val="0.63354209196072708"/>
          <c:h val="0.90555823707123917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rgbClr val="008000"/>
            </a:solidFill>
          </c:spPr>
          <c:explosion val="25"/>
          <c:dPt>
            <c:idx val="0"/>
            <c:bubble3D val="0"/>
            <c:spPr>
              <a:solidFill>
                <a:srgbClr val="7030A0"/>
              </a:solidFill>
            </c:spPr>
          </c:dPt>
          <c:dPt>
            <c:idx val="1"/>
            <c:bubble3D val="0"/>
            <c:spPr>
              <a:solidFill>
                <a:srgbClr val="00FF00"/>
              </a:solidFill>
            </c:spPr>
          </c:dPt>
          <c:dPt>
            <c:idx val="2"/>
            <c:bubble3D val="0"/>
            <c:spPr>
              <a:solidFill>
                <a:srgbClr val="0070C0"/>
              </a:solidFill>
            </c:spPr>
          </c:dPt>
          <c:dPt>
            <c:idx val="4"/>
            <c:bubble3D val="0"/>
            <c:spPr>
              <a:solidFill>
                <a:srgbClr val="00FFFF"/>
              </a:solidFill>
            </c:spPr>
          </c:dPt>
          <c:dPt>
            <c:idx val="5"/>
            <c:bubble3D val="0"/>
            <c:spPr>
              <a:solidFill>
                <a:schemeClr val="accent2"/>
              </a:solidFill>
            </c:spPr>
          </c:dPt>
          <c:dPt>
            <c:idx val="6"/>
            <c:bubble3D val="0"/>
            <c:spPr>
              <a:solidFill>
                <a:srgbClr val="FFFF00"/>
              </a:solidFill>
            </c:spPr>
          </c:dPt>
          <c:dLbls>
            <c:dLbl>
              <c:idx val="0"/>
              <c:layout>
                <c:manualLayout>
                  <c:x val="-1.5896276854282104E-3"/>
                  <c:y val="-0.1982820414385250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1.8269721493146689E-2"/>
                  <c:y val="2.720710779746398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2.2489124623310975E-2"/>
                  <c:y val="3.406444585341517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2.1598376591814912E-2"/>
                  <c:y val="-9.926871980579678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6.0167808885000486E-2"/>
                  <c:y val="-7.016887603997015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6.9960994459025955E-2"/>
                  <c:y val="-6.665480753335438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Лист1!$A$2:$A$10</c:f>
              <c:strCache>
                <c:ptCount val="7"/>
                <c:pt idx="0">
                  <c:v>Заработная плата с начислениями</c:v>
                </c:pt>
                <c:pt idx="1">
                  <c:v>Коммунальные платежи</c:v>
                </c:pt>
                <c:pt idx="2">
                  <c:v>Содержание имущества</c:v>
                </c:pt>
                <c:pt idx="3">
                  <c:v>Медицинские осмотры</c:v>
                </c:pt>
                <c:pt idx="4">
                  <c:v>Продукты питания </c:v>
                </c:pt>
                <c:pt idx="5">
                  <c:v>ГСМ</c:v>
                </c:pt>
                <c:pt idx="6">
                  <c:v>Субсидия на выполнение МЗ</c:v>
                </c:pt>
              </c:strCache>
            </c:str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296.3</c:v>
                </c:pt>
                <c:pt idx="1">
                  <c:v>73.5</c:v>
                </c:pt>
                <c:pt idx="2">
                  <c:v>14.3</c:v>
                </c:pt>
                <c:pt idx="3">
                  <c:v>7.4</c:v>
                </c:pt>
                <c:pt idx="4">
                  <c:v>72.2</c:v>
                </c:pt>
                <c:pt idx="5">
                  <c:v>5.4</c:v>
                </c:pt>
                <c:pt idx="6">
                  <c:v>8.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legend>
      <c:legendPos val="r"/>
      <c:legendEntry>
        <c:idx val="7"/>
        <c:delete val="1"/>
      </c:legendEntry>
      <c:legendEntry>
        <c:idx val="8"/>
        <c:delete val="1"/>
      </c:legendEntry>
      <c:layout>
        <c:manualLayout>
          <c:xMode val="edge"/>
          <c:yMode val="edge"/>
          <c:x val="0.71567050646446972"/>
          <c:y val="2.3365388814566065E-3"/>
          <c:w val="0.2580949256342957"/>
          <c:h val="0.99766346111854343"/>
        </c:manualLayout>
      </c:layout>
      <c:overlay val="0"/>
      <c:txPr>
        <a:bodyPr/>
        <a:lstStyle/>
        <a:p>
          <a:pPr>
            <a:defRPr sz="1600" baseline="0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3101754641780888"/>
          <c:y val="3.9847602515386195E-2"/>
          <c:w val="0.52816382327209099"/>
          <c:h val="0.8375441259220457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Доходы (налоговые, неналоговые)</c:v>
                </c:pt>
              </c:strCache>
            </c:strRef>
          </c:tx>
          <c:invertIfNegative val="0"/>
          <c:cat>
            <c:strRef>
              <c:f>Лист1!$A$2:$A$4</c:f>
              <c:strCache>
                <c:ptCount val="3"/>
                <c:pt idx="0">
                  <c:v>2019 год</c:v>
                </c:pt>
                <c:pt idx="1">
                  <c:v>2020 год</c:v>
                </c:pt>
                <c:pt idx="2">
                  <c:v>2021 год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530877</c:v>
                </c:pt>
                <c:pt idx="1">
                  <c:v>550007.30000000005</c:v>
                </c:pt>
                <c:pt idx="2">
                  <c:v>554393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Верхний предел муниципального долга</c:v>
                </c:pt>
              </c:strCache>
            </c:strRef>
          </c:tx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ru-RU" b="1" i="0" baseline="0" smtClean="0"/>
                      <a:t>8,6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ru-RU" b="1" i="0" baseline="0" smtClean="0"/>
                      <a:t>15,4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ru-RU" b="1" i="0" baseline="0" smtClean="0"/>
                      <a:t>20,0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" sourceLinked="0"/>
            <c:txPr>
              <a:bodyPr/>
              <a:lstStyle/>
              <a:p>
                <a:pPr>
                  <a:defRPr b="1" i="0" baseline="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4</c:f>
              <c:strCache>
                <c:ptCount val="3"/>
                <c:pt idx="0">
                  <c:v>2019 год</c:v>
                </c:pt>
                <c:pt idx="1">
                  <c:v>2020 год</c:v>
                </c:pt>
                <c:pt idx="2">
                  <c:v>2021 год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45614.9</c:v>
                </c:pt>
                <c:pt idx="1">
                  <c:v>84846.6</c:v>
                </c:pt>
                <c:pt idx="2">
                  <c:v>11097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70545408"/>
        <c:axId val="72581504"/>
      </c:barChart>
      <c:catAx>
        <c:axId val="70545408"/>
        <c:scaling>
          <c:orientation val="minMax"/>
        </c:scaling>
        <c:delete val="0"/>
        <c:axPos val="b"/>
        <c:majorTickMark val="out"/>
        <c:minorTickMark val="none"/>
        <c:tickLblPos val="nextTo"/>
        <c:crossAx val="72581504"/>
        <c:crosses val="autoZero"/>
        <c:auto val="1"/>
        <c:lblAlgn val="ctr"/>
        <c:lblOffset val="100"/>
        <c:noMultiLvlLbl val="0"/>
      </c:catAx>
      <c:valAx>
        <c:axId val="72581504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7054540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67307025857878877"/>
          <c:y val="1.595952773516696E-2"/>
          <c:w val="0.31767048216195198"/>
          <c:h val="0.36408804446168946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9</cdr:x>
      <cdr:y>0.10167</cdr:y>
    </cdr:from>
    <cdr:to>
      <cdr:x>0.42125</cdr:x>
      <cdr:y>0.18114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2386608" y="460648"/>
          <a:ext cx="1080120" cy="360040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ru-RU" sz="1400" b="1" dirty="0" smtClean="0">
              <a:solidFill>
                <a:srgbClr val="C00000"/>
              </a:solidFill>
            </a:rPr>
            <a:t>+16 323,0</a:t>
          </a:r>
          <a:endParaRPr lang="ru-RU" sz="1400" b="1" dirty="0">
            <a:solidFill>
              <a:srgbClr val="C00000"/>
            </a:solidFill>
          </a:endParaRPr>
        </a:p>
      </cdr:txBody>
    </cdr:sp>
  </cdr:relSizeAnchor>
  <cdr:relSizeAnchor xmlns:cdr="http://schemas.openxmlformats.org/drawingml/2006/chartDrawing">
    <cdr:from>
      <cdr:x>0.325</cdr:x>
      <cdr:y>0.53079</cdr:y>
    </cdr:from>
    <cdr:to>
      <cdr:x>0.43611</cdr:x>
      <cdr:y>0.59436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2674640" y="2404864"/>
          <a:ext cx="914400" cy="288032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ru-RU" b="1" dirty="0" smtClean="0">
              <a:solidFill>
                <a:srgbClr val="C00000"/>
              </a:solidFill>
            </a:rPr>
            <a:t>+ 367,4</a:t>
          </a:r>
          <a:endParaRPr lang="ru-RU" b="1" dirty="0">
            <a:solidFill>
              <a:srgbClr val="C00000"/>
            </a:solidFill>
          </a:endParaRPr>
        </a:p>
      </cdr:txBody>
    </cdr:sp>
  </cdr:relSizeAnchor>
  <cdr:relSizeAnchor xmlns:cdr="http://schemas.openxmlformats.org/drawingml/2006/chartDrawing">
    <cdr:from>
      <cdr:x>0.45625</cdr:x>
      <cdr:y>0.54668</cdr:y>
    </cdr:from>
    <cdr:to>
      <cdr:x>0.56736</cdr:x>
      <cdr:y>0.62615</cdr:y>
    </cdr:to>
    <cdr:sp macro="" textlink="">
      <cdr:nvSpPr>
        <cdr:cNvPr id="5" name="Прямоугольник 4"/>
        <cdr:cNvSpPr/>
      </cdr:nvSpPr>
      <cdr:spPr>
        <a:xfrm xmlns:a="http://schemas.openxmlformats.org/drawingml/2006/main">
          <a:off x="3754760" y="2476872"/>
          <a:ext cx="914400" cy="360040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ru-RU" b="1" dirty="0" smtClean="0">
              <a:solidFill>
                <a:srgbClr val="C00000"/>
              </a:solidFill>
            </a:rPr>
            <a:t>+417,5</a:t>
          </a:r>
          <a:endParaRPr lang="ru-RU" b="1" dirty="0">
            <a:solidFill>
              <a:srgbClr val="C00000"/>
            </a:solidFill>
          </a:endParaRPr>
        </a:p>
      </cdr:txBody>
    </cdr:sp>
  </cdr:relSizeAnchor>
  <cdr:relSizeAnchor xmlns:cdr="http://schemas.openxmlformats.org/drawingml/2006/chartDrawing">
    <cdr:from>
      <cdr:x>0.59625</cdr:x>
      <cdr:y>0.57847</cdr:y>
    </cdr:from>
    <cdr:to>
      <cdr:x>0.70736</cdr:x>
      <cdr:y>0.64204</cdr:y>
    </cdr:to>
    <cdr:sp macro="" textlink="">
      <cdr:nvSpPr>
        <cdr:cNvPr id="6" name="Прямоугольник 5"/>
        <cdr:cNvSpPr/>
      </cdr:nvSpPr>
      <cdr:spPr>
        <a:xfrm xmlns:a="http://schemas.openxmlformats.org/drawingml/2006/main">
          <a:off x="4906888" y="2620888"/>
          <a:ext cx="914400" cy="288032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ru-RU" b="1" dirty="0" smtClean="0">
              <a:solidFill>
                <a:srgbClr val="C00000"/>
              </a:solidFill>
            </a:rPr>
            <a:t>+25,0</a:t>
          </a:r>
          <a:endParaRPr lang="ru-RU" b="1" dirty="0">
            <a:solidFill>
              <a:srgbClr val="C00000"/>
            </a:solidFill>
          </a:endParaRPr>
        </a:p>
      </cdr:txBody>
    </cdr:sp>
  </cdr:relSizeAnchor>
  <cdr:relSizeAnchor xmlns:cdr="http://schemas.openxmlformats.org/drawingml/2006/chartDrawing">
    <cdr:from>
      <cdr:x>0.7625</cdr:x>
      <cdr:y>0.61026</cdr:y>
    </cdr:from>
    <cdr:to>
      <cdr:x>0.87361</cdr:x>
      <cdr:y>0.65794</cdr:y>
    </cdr:to>
    <cdr:sp macro="" textlink="">
      <cdr:nvSpPr>
        <cdr:cNvPr id="7" name="Прямоугольник 6"/>
        <cdr:cNvSpPr/>
      </cdr:nvSpPr>
      <cdr:spPr>
        <a:xfrm xmlns:a="http://schemas.openxmlformats.org/drawingml/2006/main">
          <a:off x="6275040" y="2764904"/>
          <a:ext cx="914400" cy="216024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ru-RU" b="1" dirty="0" smtClean="0">
              <a:solidFill>
                <a:srgbClr val="C00000"/>
              </a:solidFill>
            </a:rPr>
            <a:t>+1375,1</a:t>
          </a:r>
          <a:endParaRPr lang="ru-RU" b="1" dirty="0">
            <a:solidFill>
              <a:srgbClr val="C00000"/>
            </a:solidFill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741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48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741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4875"/>
            <a:ext cx="5438775" cy="4468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Click to edit Master text styles</a:t>
            </a:r>
          </a:p>
          <a:p>
            <a:pPr lvl="1"/>
            <a:r>
              <a:rPr lang="ru-RU" noProof="0" smtClean="0"/>
              <a:t>Second level</a:t>
            </a:r>
          </a:p>
          <a:p>
            <a:pPr lvl="2"/>
            <a:r>
              <a:rPr lang="ru-RU" noProof="0" smtClean="0"/>
              <a:t>Third level</a:t>
            </a:r>
          </a:p>
          <a:p>
            <a:pPr lvl="3"/>
            <a:r>
              <a:rPr lang="ru-RU" noProof="0" smtClean="0"/>
              <a:t>Fourth level</a:t>
            </a:r>
          </a:p>
          <a:p>
            <a:pPr lvl="4"/>
            <a:r>
              <a:rPr lang="ru-RU" noProof="0" smtClean="0"/>
              <a:t>Fifth level</a:t>
            </a:r>
          </a:p>
        </p:txBody>
      </p:sp>
      <p:sp>
        <p:nvSpPr>
          <p:cNvPr id="1741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975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741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975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5484430C-6E42-4965-845E-7646400E5F3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5166066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484430C-6E42-4965-845E-7646400E5F32}" type="slidenum">
              <a:rPr lang="ru-RU" smtClean="0"/>
              <a:pPr>
                <a:defRPr/>
              </a:pPr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252719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5843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/>
          </a:p>
        </p:txBody>
      </p:sp>
      <p:sp>
        <p:nvSpPr>
          <p:cNvPr id="35844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1F9171DF-FCF6-4012-9AB1-109D6A061114}" type="slidenum">
              <a:rPr lang="ru-RU" altLang="ru-RU" sz="1200" smtClean="0"/>
              <a:pPr eaLnBrk="1" hangingPunct="1"/>
              <a:t>2</a:t>
            </a:fld>
            <a:endParaRPr lang="ru-RU" altLang="ru-RU" sz="120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b="1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484430C-6E42-4965-845E-7646400E5F32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6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03330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600" b="1" dirty="0">
              <a:solidFill>
                <a:srgbClr val="00206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484430C-6E42-4965-845E-7646400E5F32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7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37534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600" b="1" dirty="0">
              <a:solidFill>
                <a:srgbClr val="0000FF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484430C-6E42-4965-845E-7646400E5F32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8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03669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600" b="1" dirty="0">
              <a:solidFill>
                <a:srgbClr val="00206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484430C-6E42-4965-845E-7646400E5F32}" type="slidenum">
              <a:rPr lang="ru-RU" smtClean="0"/>
              <a:pPr>
                <a:defRPr/>
              </a:pPr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637534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484430C-6E42-4965-845E-7646400E5F32}" type="slidenum">
              <a:rPr lang="ru-RU" smtClean="0"/>
              <a:pPr>
                <a:defRPr/>
              </a:pPr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3537485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484430C-6E42-4965-845E-7646400E5F32}" type="slidenum">
              <a:rPr lang="ru-RU" smtClean="0"/>
              <a:pPr>
                <a:defRPr/>
              </a:pPr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469312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 useBgFill="1">
        <p:nvSpPr>
          <p:cNvPr id="5" name="Rounded Rectangle 7"/>
          <p:cNvSpPr/>
          <p:nvPr/>
        </p:nvSpPr>
        <p:spPr>
          <a:xfrm>
            <a:off x="92075" y="101600"/>
            <a:ext cx="8959850" cy="6664325"/>
          </a:xfrm>
          <a:prstGeom prst="roundRect">
            <a:avLst>
              <a:gd name="adj" fmla="val 1735"/>
            </a:avLst>
          </a:prstGeom>
          <a:ln w="12700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6" name="Rectangle 8"/>
          <p:cNvSpPr/>
          <p:nvPr/>
        </p:nvSpPr>
        <p:spPr>
          <a:xfrm>
            <a:off x="345440" y="2942602"/>
            <a:ext cx="7147931" cy="2463800"/>
          </a:xfrm>
          <a:prstGeom prst="rect">
            <a:avLst/>
          </a:prstGeom>
          <a:solidFill>
            <a:srgbClr val="FFFFFF">
              <a:alpha val="83000"/>
            </a:srgbClr>
          </a:solidFill>
          <a:ln>
            <a:noFill/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Rectangle 11"/>
          <p:cNvSpPr/>
          <p:nvPr/>
        </p:nvSpPr>
        <p:spPr>
          <a:xfrm>
            <a:off x="7572652" y="2944634"/>
            <a:ext cx="1190348" cy="2459736"/>
          </a:xfrm>
          <a:prstGeom prst="rect">
            <a:avLst/>
          </a:prstGeom>
          <a:solidFill>
            <a:srgbClr val="FFFFFF">
              <a:alpha val="83000"/>
            </a:srgbClr>
          </a:solidFill>
          <a:ln>
            <a:noFill/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8" name="Rectangle 12"/>
          <p:cNvSpPr/>
          <p:nvPr/>
        </p:nvSpPr>
        <p:spPr>
          <a:xfrm>
            <a:off x="7712075" y="3136900"/>
            <a:ext cx="911225" cy="2074863"/>
          </a:xfrm>
          <a:prstGeom prst="rect">
            <a:avLst/>
          </a:prstGeom>
          <a:solidFill>
            <a:schemeClr val="accent3">
              <a:alpha val="70000"/>
            </a:schemeClr>
          </a:solidFill>
          <a:ln w="63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9" name="Rectangle 13"/>
          <p:cNvSpPr/>
          <p:nvPr/>
        </p:nvSpPr>
        <p:spPr>
          <a:xfrm>
            <a:off x="446088" y="3055938"/>
            <a:ext cx="6946900" cy="2244725"/>
          </a:xfrm>
          <a:prstGeom prst="rect">
            <a:avLst/>
          </a:prstGeom>
          <a:solidFill>
            <a:srgbClr val="FFFFFF"/>
          </a:solidFill>
          <a:ln w="6350" cmpd="dbl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" name="Rectangle 10"/>
          <p:cNvSpPr/>
          <p:nvPr/>
        </p:nvSpPr>
        <p:spPr>
          <a:xfrm>
            <a:off x="541338" y="4559300"/>
            <a:ext cx="6756400" cy="663575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1" name="Rectangle 9"/>
          <p:cNvSpPr/>
          <p:nvPr/>
        </p:nvSpPr>
        <p:spPr>
          <a:xfrm>
            <a:off x="539750" y="3140075"/>
            <a:ext cx="6759575" cy="2076450"/>
          </a:xfrm>
          <a:prstGeom prst="rect">
            <a:avLst/>
          </a:prstGeom>
          <a:noFill/>
          <a:ln w="6350" cmpd="dbl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2805" y="4648200"/>
            <a:ext cx="6553200" cy="457200"/>
          </a:xfrm>
        </p:spPr>
        <p:txBody>
          <a:bodyPr>
            <a:normAutofit/>
          </a:bodyPr>
          <a:lstStyle>
            <a:lvl1pPr marL="0" indent="0" algn="ctr">
              <a:buNone/>
              <a:defRPr sz="1800" cap="all" spc="3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4705" y="3227033"/>
            <a:ext cx="6629400" cy="1219201"/>
          </a:xfrm>
        </p:spPr>
        <p:txBody>
          <a:bodyPr anchor="b" anchorCtr="0">
            <a:noAutofit/>
          </a:bodyPr>
          <a:lstStyle>
            <a:lvl1pPr>
              <a:defRPr sz="40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58A7B5-AD27-4F79-9E8D-BE52EE6E61D3}" type="datetimeFigureOut">
              <a:rPr lang="ru-RU"/>
              <a:pPr>
                <a:defRPr/>
              </a:pPr>
              <a:t>11.12.2018</a:t>
            </a:fld>
            <a:endParaRPr lang="ru-RU" altLang="en-US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786688" y="4625975"/>
            <a:ext cx="762000" cy="457200"/>
          </a:xfrm>
        </p:spPr>
        <p:txBody>
          <a:bodyPr/>
          <a:lstStyle>
            <a:lvl1pPr algn="ctr">
              <a:defRPr sz="28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F33E6430-1678-40E7-994D-83854D796536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15726405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1529BD-89E1-43F4-A36E-80BC61BE2D0D}" type="datetimeFigureOut">
              <a:rPr lang="ru-RU"/>
              <a:pPr>
                <a:defRPr/>
              </a:pPr>
              <a:t>11.12.2018</a:t>
            </a:fld>
            <a:endParaRPr lang="ru-RU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17E5F3-FD21-49E7-B46C-EA92226096DD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17908304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/>
          <p:nvPr/>
        </p:nvSpPr>
        <p:spPr>
          <a:xfrm>
            <a:off x="6861175" y="228600"/>
            <a:ext cx="1860550" cy="6122988"/>
          </a:xfrm>
          <a:prstGeom prst="rect">
            <a:avLst/>
          </a:prstGeom>
          <a:solidFill>
            <a:srgbClr val="FFFFFF">
              <a:alpha val="85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/>
          </a:p>
        </p:txBody>
      </p:sp>
      <p:sp>
        <p:nvSpPr>
          <p:cNvPr id="5" name="Rectangle 7"/>
          <p:cNvSpPr/>
          <p:nvPr/>
        </p:nvSpPr>
        <p:spPr>
          <a:xfrm>
            <a:off x="6954838" y="350838"/>
            <a:ext cx="1673225" cy="5876925"/>
          </a:xfrm>
          <a:prstGeom prst="rect">
            <a:avLst/>
          </a:prstGeom>
          <a:solidFill>
            <a:srgbClr val="FFFF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48577" y="395427"/>
            <a:ext cx="1485531" cy="5788981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380999"/>
            <a:ext cx="6172200" cy="5791201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23FE4C-E3B7-41EF-8FAA-B6006CF74830}" type="datetimeFigureOut">
              <a:rPr lang="ru-RU"/>
              <a:pPr>
                <a:defRPr/>
              </a:pPr>
              <a:t>11.12.2018</a:t>
            </a:fld>
            <a:endParaRPr lang="ru-RU" alt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68BB30-9EA5-42E1-9C23-4DF087418050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12199209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 useBgFill="1">
        <p:nvSpPr>
          <p:cNvPr id="5" name="Rounded Rectangle 7"/>
          <p:cNvSpPr/>
          <p:nvPr/>
        </p:nvSpPr>
        <p:spPr>
          <a:xfrm>
            <a:off x="92075" y="101600"/>
            <a:ext cx="8959850" cy="6664325"/>
          </a:xfrm>
          <a:prstGeom prst="roundRect">
            <a:avLst>
              <a:gd name="adj" fmla="val 1735"/>
            </a:avLst>
          </a:prstGeom>
          <a:ln w="12700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6" name="Rectangle 8"/>
          <p:cNvSpPr/>
          <p:nvPr/>
        </p:nvSpPr>
        <p:spPr>
          <a:xfrm>
            <a:off x="345440" y="2942602"/>
            <a:ext cx="7147931" cy="2463800"/>
          </a:xfrm>
          <a:prstGeom prst="rect">
            <a:avLst/>
          </a:prstGeom>
          <a:solidFill>
            <a:srgbClr val="FFFFFF">
              <a:alpha val="83000"/>
            </a:srgbClr>
          </a:solidFill>
          <a:ln>
            <a:noFill/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Rectangle 11"/>
          <p:cNvSpPr/>
          <p:nvPr/>
        </p:nvSpPr>
        <p:spPr>
          <a:xfrm>
            <a:off x="7572652" y="2944634"/>
            <a:ext cx="1190348" cy="2459736"/>
          </a:xfrm>
          <a:prstGeom prst="rect">
            <a:avLst/>
          </a:prstGeom>
          <a:solidFill>
            <a:srgbClr val="FFFFFF">
              <a:alpha val="83000"/>
            </a:srgbClr>
          </a:solidFill>
          <a:ln>
            <a:noFill/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8" name="Rectangle 12"/>
          <p:cNvSpPr/>
          <p:nvPr/>
        </p:nvSpPr>
        <p:spPr>
          <a:xfrm>
            <a:off x="7712075" y="3136900"/>
            <a:ext cx="911225" cy="2074863"/>
          </a:xfrm>
          <a:prstGeom prst="rect">
            <a:avLst/>
          </a:prstGeom>
          <a:solidFill>
            <a:schemeClr val="accent3">
              <a:alpha val="70000"/>
            </a:schemeClr>
          </a:solidFill>
          <a:ln w="63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9" name="Rectangle 13"/>
          <p:cNvSpPr/>
          <p:nvPr/>
        </p:nvSpPr>
        <p:spPr>
          <a:xfrm>
            <a:off x="446088" y="3055938"/>
            <a:ext cx="6946900" cy="2244725"/>
          </a:xfrm>
          <a:prstGeom prst="rect">
            <a:avLst/>
          </a:prstGeom>
          <a:solidFill>
            <a:srgbClr val="FFFFFF"/>
          </a:solidFill>
          <a:ln w="6350" cmpd="dbl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" name="Rectangle 10"/>
          <p:cNvSpPr/>
          <p:nvPr/>
        </p:nvSpPr>
        <p:spPr>
          <a:xfrm>
            <a:off x="541338" y="4559300"/>
            <a:ext cx="6756400" cy="663575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1" name="Rectangle 9"/>
          <p:cNvSpPr/>
          <p:nvPr/>
        </p:nvSpPr>
        <p:spPr>
          <a:xfrm>
            <a:off x="539750" y="3140075"/>
            <a:ext cx="6759575" cy="2076450"/>
          </a:xfrm>
          <a:prstGeom prst="rect">
            <a:avLst/>
          </a:prstGeom>
          <a:noFill/>
          <a:ln w="6350" cmpd="dbl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2805" y="4648200"/>
            <a:ext cx="6553200" cy="457200"/>
          </a:xfrm>
        </p:spPr>
        <p:txBody>
          <a:bodyPr>
            <a:normAutofit/>
          </a:bodyPr>
          <a:lstStyle>
            <a:lvl1pPr marL="0" indent="0" algn="ctr">
              <a:buNone/>
              <a:defRPr sz="1800" cap="all" spc="3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4705" y="3227033"/>
            <a:ext cx="6629400" cy="1219201"/>
          </a:xfrm>
        </p:spPr>
        <p:txBody>
          <a:bodyPr anchor="b" anchorCtr="0">
            <a:noAutofit/>
          </a:bodyPr>
          <a:lstStyle>
            <a:lvl1pPr>
              <a:defRPr sz="40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786688" y="4625975"/>
            <a:ext cx="762000" cy="457200"/>
          </a:xfrm>
        </p:spPr>
        <p:txBody>
          <a:bodyPr/>
          <a:lstStyle>
            <a:lvl1pPr algn="ctr">
              <a:defRPr sz="28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7D3C5764-D0B2-4CC3-9664-78C858C8FD7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9632530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B682B1-8EE4-4E9B-9D14-085FEACCFA3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84994797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 useBgFill="1">
        <p:nvSpPr>
          <p:cNvPr id="5" name="Rounded Rectangle 7"/>
          <p:cNvSpPr/>
          <p:nvPr/>
        </p:nvSpPr>
        <p:spPr>
          <a:xfrm>
            <a:off x="92075" y="101600"/>
            <a:ext cx="8959850" cy="6664325"/>
          </a:xfrm>
          <a:prstGeom prst="roundRect">
            <a:avLst>
              <a:gd name="adj" fmla="val 1735"/>
            </a:avLst>
          </a:prstGeom>
          <a:ln w="12700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6" name="Rectangle 12"/>
          <p:cNvSpPr/>
          <p:nvPr/>
        </p:nvSpPr>
        <p:spPr>
          <a:xfrm>
            <a:off x="451976" y="2946400"/>
            <a:ext cx="8265160" cy="2463800"/>
          </a:xfrm>
          <a:prstGeom prst="rect">
            <a:avLst/>
          </a:prstGeom>
          <a:solidFill>
            <a:srgbClr val="FFFFFF">
              <a:alpha val="83000"/>
            </a:srgbClr>
          </a:solidFill>
          <a:ln>
            <a:noFill/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Rectangle 15"/>
          <p:cNvSpPr/>
          <p:nvPr/>
        </p:nvSpPr>
        <p:spPr>
          <a:xfrm>
            <a:off x="568325" y="3048000"/>
            <a:ext cx="8032750" cy="2244725"/>
          </a:xfrm>
          <a:prstGeom prst="rect">
            <a:avLst/>
          </a:prstGeom>
          <a:solidFill>
            <a:srgbClr val="FFFFFF"/>
          </a:solidFill>
          <a:ln w="6350" cmpd="dbl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8" name="Rectangle 14"/>
          <p:cNvSpPr/>
          <p:nvPr/>
        </p:nvSpPr>
        <p:spPr>
          <a:xfrm>
            <a:off x="676275" y="4541838"/>
            <a:ext cx="7816850" cy="663575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9" name="Rectangle 13"/>
          <p:cNvSpPr/>
          <p:nvPr/>
        </p:nvSpPr>
        <p:spPr>
          <a:xfrm>
            <a:off x="676275" y="3124200"/>
            <a:ext cx="7816850" cy="2078038"/>
          </a:xfrm>
          <a:prstGeom prst="rect">
            <a:avLst/>
          </a:prstGeom>
          <a:noFill/>
          <a:ln w="6350" cmpd="dbl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6" y="3200399"/>
            <a:ext cx="7696200" cy="1295401"/>
          </a:xfrm>
        </p:spPr>
        <p:txBody>
          <a:bodyPr anchor="b" anchorCtr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4000" kern="1200" cap="all" baseline="0" dirty="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6456" y="4607510"/>
            <a:ext cx="7696200" cy="523783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 cap="all" spc="250" baseline="0">
                <a:solidFill>
                  <a:srgbClr val="FFFFFF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1D170-81AC-4944-B456-A618CBCDFD0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1006745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128" y="408372"/>
            <a:ext cx="8260672" cy="103942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6128" y="1719071"/>
            <a:ext cx="4038600" cy="440740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719071"/>
            <a:ext cx="4038600" cy="440740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E93600-A5B3-4683-A6DB-5AD2F0E9BF1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18286706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128" y="408372"/>
            <a:ext cx="8260672" cy="1039427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6128" y="1722438"/>
            <a:ext cx="4040188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26128" y="2438400"/>
            <a:ext cx="4040188" cy="368776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722438"/>
            <a:ext cx="4041775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438400"/>
            <a:ext cx="4041775" cy="368776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5422F1-A004-430E-835E-5831F11C29C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04109764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33E7F8-FCAB-47EE-A9CE-8EC7C7000DB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99006294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 useBgFill="1">
        <p:nvSpPr>
          <p:cNvPr id="3" name="Rounded Rectangle 10"/>
          <p:cNvSpPr/>
          <p:nvPr/>
        </p:nvSpPr>
        <p:spPr>
          <a:xfrm>
            <a:off x="92075" y="101600"/>
            <a:ext cx="8959850" cy="6664325"/>
          </a:xfrm>
          <a:prstGeom prst="roundRect">
            <a:avLst>
              <a:gd name="adj" fmla="val 1735"/>
            </a:avLst>
          </a:prstGeom>
          <a:ln w="12700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F6DAAB-F4BA-4D32-BB55-1371A151EC0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54714325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 useBgFill="1">
        <p:nvSpPr>
          <p:cNvPr id="6" name="Rounded Rectangle 11"/>
          <p:cNvSpPr/>
          <p:nvPr/>
        </p:nvSpPr>
        <p:spPr>
          <a:xfrm>
            <a:off x="92075" y="101600"/>
            <a:ext cx="8959850" cy="6664325"/>
          </a:xfrm>
          <a:prstGeom prst="roundRect">
            <a:avLst>
              <a:gd name="adj" fmla="val 1735"/>
            </a:avLst>
          </a:prstGeom>
          <a:ln w="12700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Rectangle 7"/>
          <p:cNvSpPr/>
          <p:nvPr/>
        </p:nvSpPr>
        <p:spPr>
          <a:xfrm>
            <a:off x="560034" y="1505712"/>
            <a:ext cx="2716566" cy="3523488"/>
          </a:xfrm>
          <a:prstGeom prst="rect">
            <a:avLst/>
          </a:prstGeom>
          <a:solidFill>
            <a:srgbClr val="FFFFFF">
              <a:alpha val="83000"/>
            </a:srgbClr>
          </a:solidFill>
          <a:ln>
            <a:noFill/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8" name="Rectangle 9"/>
          <p:cNvSpPr/>
          <p:nvPr/>
        </p:nvSpPr>
        <p:spPr>
          <a:xfrm>
            <a:off x="676275" y="1643063"/>
            <a:ext cx="2484438" cy="3233737"/>
          </a:xfrm>
          <a:prstGeom prst="rect">
            <a:avLst/>
          </a:prstGeom>
          <a:solidFill>
            <a:srgbClr val="FFFFFF"/>
          </a:solidFill>
          <a:ln w="6350" cmpd="dbl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6200" y="685800"/>
            <a:ext cx="4572000" cy="5257802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69000" y="2971800"/>
            <a:ext cx="2298634" cy="1752600"/>
          </a:xfrm>
        </p:spPr>
        <p:txBody>
          <a:bodyPr/>
          <a:lstStyle>
            <a:lvl1pPr marL="0" indent="0">
              <a:spcBef>
                <a:spcPts val="400"/>
              </a:spcBef>
              <a:buNone/>
              <a:defRPr sz="1400">
                <a:solidFill>
                  <a:schemeClr val="accent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9000" y="1734312"/>
            <a:ext cx="2298634" cy="1191620"/>
          </a:xfrm>
        </p:spPr>
        <p:txBody>
          <a:bodyPr anchor="b"/>
          <a:lstStyle>
            <a:lvl1pPr algn="l">
              <a:defRPr sz="2000" b="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EB814A-926F-4055-BEE6-BCD1AADA89F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062153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921619-EAE4-4870-9226-3EE78ABA5AB4}" type="datetimeFigureOut">
              <a:rPr lang="ru-RU"/>
              <a:pPr>
                <a:defRPr/>
              </a:pPr>
              <a:t>11.12.2018</a:t>
            </a:fld>
            <a:endParaRPr lang="ru-RU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8BE07E-13E0-4F14-8DBB-91448C0A6470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239483385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 useBgFill="1">
        <p:nvSpPr>
          <p:cNvPr id="6" name="Rounded Rectangle 8"/>
          <p:cNvSpPr/>
          <p:nvPr/>
        </p:nvSpPr>
        <p:spPr>
          <a:xfrm>
            <a:off x="92075" y="101600"/>
            <a:ext cx="8959850" cy="6664325"/>
          </a:xfrm>
          <a:prstGeom prst="roundRect">
            <a:avLst>
              <a:gd name="adj" fmla="val 1735"/>
            </a:avLst>
          </a:prstGeom>
          <a:ln w="12700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Rectangle 9"/>
          <p:cNvSpPr/>
          <p:nvPr/>
        </p:nvSpPr>
        <p:spPr>
          <a:xfrm>
            <a:off x="685800" y="4953000"/>
            <a:ext cx="7772400" cy="1371600"/>
          </a:xfrm>
          <a:prstGeom prst="rect">
            <a:avLst/>
          </a:prstGeom>
          <a:solidFill>
            <a:srgbClr val="FFFFFF">
              <a:alpha val="83000"/>
            </a:srgbClr>
          </a:solidFill>
          <a:ln>
            <a:noFill/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8" name="Rectangle 11"/>
          <p:cNvSpPr/>
          <p:nvPr/>
        </p:nvSpPr>
        <p:spPr>
          <a:xfrm>
            <a:off x="762000" y="5029200"/>
            <a:ext cx="7600950" cy="1203325"/>
          </a:xfrm>
          <a:prstGeom prst="rect">
            <a:avLst/>
          </a:prstGeom>
          <a:solidFill>
            <a:srgbClr val="FFFFFF"/>
          </a:solidFill>
          <a:ln w="6350" cmpd="dbl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9" name="Rectangle 12"/>
          <p:cNvSpPr/>
          <p:nvPr/>
        </p:nvSpPr>
        <p:spPr>
          <a:xfrm>
            <a:off x="914400" y="5638800"/>
            <a:ext cx="7327900" cy="452438"/>
          </a:xfrm>
          <a:prstGeom prst="rect">
            <a:avLst/>
          </a:prstGeom>
          <a:solidFill>
            <a:schemeClr val="accent1"/>
          </a:solidFill>
          <a:ln w="6350" cmpd="dbl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" name="Rectangle 10"/>
          <p:cNvSpPr/>
          <p:nvPr/>
        </p:nvSpPr>
        <p:spPr>
          <a:xfrm>
            <a:off x="604838" y="5075238"/>
            <a:ext cx="7947025" cy="1096962"/>
          </a:xfrm>
          <a:prstGeom prst="rect">
            <a:avLst/>
          </a:prstGeom>
          <a:noFill/>
          <a:ln w="6350" cmpd="dbl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85800" y="621437"/>
            <a:ext cx="7772400" cy="4331564"/>
          </a:xfrm>
          <a:solidFill>
            <a:schemeClr val="bg2"/>
          </a:solidFill>
          <a:ln>
            <a:noFill/>
          </a:ln>
          <a:effectLst>
            <a:softEdge rad="12700"/>
          </a:effectLst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56289" y="5656556"/>
            <a:ext cx="7244736" cy="401715"/>
          </a:xfrm>
        </p:spPr>
        <p:txBody>
          <a:bodyPr anchor="ctr">
            <a:normAutofit/>
          </a:bodyPr>
          <a:lstStyle>
            <a:lvl1pPr marL="0" indent="0" algn="ctr">
              <a:buNone/>
              <a:defRPr sz="1500" cap="all" spc="250" baseline="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5105400"/>
            <a:ext cx="7328514" cy="523043"/>
          </a:xfrm>
        </p:spPr>
        <p:txBody>
          <a:bodyPr anchorCtr="0"/>
          <a:lstStyle>
            <a:lvl1pPr algn="ctr">
              <a:defRPr sz="2000" b="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1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A8B167-C691-448E-9463-363C3011DDA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73912099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6E7705-E6CF-4224-8D39-77B325662E2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238025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/>
          <p:nvPr/>
        </p:nvSpPr>
        <p:spPr>
          <a:xfrm>
            <a:off x="6861175" y="228600"/>
            <a:ext cx="1860550" cy="6122988"/>
          </a:xfrm>
          <a:prstGeom prst="rect">
            <a:avLst/>
          </a:prstGeom>
          <a:solidFill>
            <a:srgbClr val="FFFFFF">
              <a:alpha val="85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/>
          </a:p>
        </p:txBody>
      </p:sp>
      <p:sp>
        <p:nvSpPr>
          <p:cNvPr id="5" name="Rectangle 7"/>
          <p:cNvSpPr/>
          <p:nvPr/>
        </p:nvSpPr>
        <p:spPr>
          <a:xfrm>
            <a:off x="6954838" y="350838"/>
            <a:ext cx="1673225" cy="5876925"/>
          </a:xfrm>
          <a:prstGeom prst="rect">
            <a:avLst/>
          </a:prstGeom>
          <a:solidFill>
            <a:srgbClr val="FFFF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48577" y="395427"/>
            <a:ext cx="1485531" cy="5788981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380999"/>
            <a:ext cx="6172200" cy="5791201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FF9296-6FB1-4ED3-836F-16C058FEF29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90951598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7"/>
          <p:cNvSpPr>
            <a:spLocks noChangeArrowheads="1"/>
          </p:cNvSpPr>
          <p:nvPr/>
        </p:nvSpPr>
        <p:spPr bwMode="auto">
          <a:xfrm>
            <a:off x="609600" y="1219200"/>
            <a:ext cx="7924800" cy="914400"/>
          </a:xfrm>
          <a:custGeom>
            <a:avLst/>
            <a:gdLst>
              <a:gd name="T0" fmla="*/ 0 w 1000"/>
              <a:gd name="T1" fmla="*/ 2147483647 h 1000"/>
              <a:gd name="T2" fmla="*/ 0 w 1000"/>
              <a:gd name="T3" fmla="*/ 0 h 1000"/>
              <a:gd name="T4" fmla="*/ 2147483647 w 1000"/>
              <a:gd name="T5" fmla="*/ 0 h 100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000" h="1000">
                <a:moveTo>
                  <a:pt x="0" y="1000"/>
                </a:moveTo>
                <a:lnTo>
                  <a:pt x="0" y="0"/>
                </a:lnTo>
                <a:lnTo>
                  <a:pt x="1000" y="0"/>
                </a:lnTo>
              </a:path>
            </a:pathLst>
          </a:custGeom>
          <a:noFill/>
          <a:ln w="25400" cap="flat" cmpd="sng">
            <a:solidFill>
              <a:schemeClr val="accent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ru-RU" smtClean="0">
              <a:solidFill>
                <a:srgbClr val="000000"/>
              </a:solidFill>
            </a:endParaRPr>
          </a:p>
        </p:txBody>
      </p:sp>
      <p:sp>
        <p:nvSpPr>
          <p:cNvPr id="5" name="Line 8"/>
          <p:cNvSpPr>
            <a:spLocks noChangeShapeType="1"/>
          </p:cNvSpPr>
          <p:nvPr/>
        </p:nvSpPr>
        <p:spPr bwMode="auto">
          <a:xfrm>
            <a:off x="1981200" y="3962400"/>
            <a:ext cx="6511925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 smtClean="0">
              <a:solidFill>
                <a:srgbClr val="000000"/>
              </a:solidFill>
            </a:endParaRPr>
          </a:p>
        </p:txBody>
      </p:sp>
      <p:sp>
        <p:nvSpPr>
          <p:cNvPr id="6656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4400" y="1524000"/>
            <a:ext cx="7623175" cy="1752600"/>
          </a:xfrm>
        </p:spPr>
        <p:txBody>
          <a:bodyPr/>
          <a:lstStyle>
            <a:lvl1pPr>
              <a:defRPr sz="5000"/>
            </a:lvl1pPr>
          </a:lstStyle>
          <a:p>
            <a:r>
              <a:rPr lang="ru-RU" altLang="en-US"/>
              <a:t>Образец заголовка</a:t>
            </a:r>
          </a:p>
        </p:txBody>
      </p:sp>
      <p:sp>
        <p:nvSpPr>
          <p:cNvPr id="6656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981200" y="3962400"/>
            <a:ext cx="6553200" cy="1752600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800"/>
            </a:lvl1pPr>
          </a:lstStyle>
          <a:p>
            <a:r>
              <a:rPr lang="ru-RU" altLang="en-US"/>
              <a:t>Образец подзаголовка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fld id="{DD19F6A0-DDC1-4FC0-B5D7-C6F16B0E46E7}" type="datetimeFigureOut">
              <a:rPr lang="ru-RU"/>
              <a:pPr>
                <a:defRPr/>
              </a:pPr>
              <a:t>11.12.2018</a:t>
            </a:fld>
            <a:endParaRPr lang="ru-RU" alt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3638"/>
            <a:ext cx="2895600" cy="457200"/>
          </a:xfrm>
        </p:spPr>
        <p:txBody>
          <a:bodyPr/>
          <a:lstStyle>
            <a:lvl1pPr>
              <a:defRPr sz="3200"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fld id="{93C2F3AD-91E2-453E-B408-8767234B38B8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400276643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fld id="{066BC144-3779-46EB-922D-41833DB65B99}" type="datetimeFigureOut">
              <a:rPr lang="ru-RU"/>
              <a:pPr>
                <a:defRPr/>
              </a:pPr>
              <a:t>11.12.2018</a:t>
            </a:fld>
            <a:endParaRPr lang="ru-RU" alt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fld id="{7F496412-8DD2-45A0-95A9-D68CD4E46489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411137603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fld id="{1A1A16EE-278E-448D-A803-92FAF104B2AE}" type="datetimeFigureOut">
              <a:rPr lang="ru-RU"/>
              <a:pPr>
                <a:defRPr/>
              </a:pPr>
              <a:t>11.12.2018</a:t>
            </a:fld>
            <a:endParaRPr lang="ru-RU" alt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fld id="{679B3A92-5FCE-49F9-9451-6C4EAD3C9F53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235582126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30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30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fld id="{CD7143F0-DB3D-4EB2-82AF-089818C6A176}" type="datetimeFigureOut">
              <a:rPr lang="ru-RU"/>
              <a:pPr>
                <a:defRPr/>
              </a:pPr>
              <a:t>11.12.2018</a:t>
            </a:fld>
            <a:endParaRPr lang="ru-RU" alt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fld id="{5ACCA6BE-4B60-4CE9-93EB-97DA00698F0B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59702420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fld id="{6450425C-4DF5-471D-BD08-FC6DEAD9C65C}" type="datetimeFigureOut">
              <a:rPr lang="ru-RU"/>
              <a:pPr>
                <a:defRPr/>
              </a:pPr>
              <a:t>11.12.2018</a:t>
            </a:fld>
            <a:endParaRPr lang="ru-RU" alt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fld id="{46380891-643A-4BC5-9AED-790094797292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214710070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fld id="{6F5F520A-3EEF-4D6C-8CAB-735363291A90}" type="datetimeFigureOut">
              <a:rPr lang="ru-RU"/>
              <a:pPr>
                <a:defRPr/>
              </a:pPr>
              <a:t>11.12.2018</a:t>
            </a:fld>
            <a:endParaRPr lang="ru-RU" alt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fld id="{D51B98CD-DBEE-4D6E-A288-96C2A72647B3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375062303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fld id="{B9FFE3FE-EE79-49C9-8FAA-CE63441A7BA6}" type="datetimeFigureOut">
              <a:rPr lang="ru-RU"/>
              <a:pPr>
                <a:defRPr/>
              </a:pPr>
              <a:t>11.12.2018</a:t>
            </a:fld>
            <a:endParaRPr lang="ru-RU" alt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fld id="{D409A3AA-A83E-4D2F-AFC4-58DB948F85F6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26454809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 useBgFill="1">
        <p:nvSpPr>
          <p:cNvPr id="5" name="Rounded Rectangle 7"/>
          <p:cNvSpPr/>
          <p:nvPr/>
        </p:nvSpPr>
        <p:spPr>
          <a:xfrm>
            <a:off x="92075" y="101600"/>
            <a:ext cx="8959850" cy="6664325"/>
          </a:xfrm>
          <a:prstGeom prst="roundRect">
            <a:avLst>
              <a:gd name="adj" fmla="val 1735"/>
            </a:avLst>
          </a:prstGeom>
          <a:ln w="12700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6" name="Rectangle 12"/>
          <p:cNvSpPr/>
          <p:nvPr/>
        </p:nvSpPr>
        <p:spPr>
          <a:xfrm>
            <a:off x="451976" y="2946400"/>
            <a:ext cx="8265160" cy="2463800"/>
          </a:xfrm>
          <a:prstGeom prst="rect">
            <a:avLst/>
          </a:prstGeom>
          <a:solidFill>
            <a:srgbClr val="FFFFFF">
              <a:alpha val="83000"/>
            </a:srgbClr>
          </a:solidFill>
          <a:ln>
            <a:noFill/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Rectangle 15"/>
          <p:cNvSpPr/>
          <p:nvPr/>
        </p:nvSpPr>
        <p:spPr>
          <a:xfrm>
            <a:off x="568325" y="3048000"/>
            <a:ext cx="8032750" cy="2244725"/>
          </a:xfrm>
          <a:prstGeom prst="rect">
            <a:avLst/>
          </a:prstGeom>
          <a:solidFill>
            <a:srgbClr val="FFFFFF"/>
          </a:solidFill>
          <a:ln w="6350" cmpd="dbl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8" name="Rectangle 14"/>
          <p:cNvSpPr/>
          <p:nvPr/>
        </p:nvSpPr>
        <p:spPr>
          <a:xfrm>
            <a:off x="676275" y="4541838"/>
            <a:ext cx="7816850" cy="663575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9" name="Rectangle 13"/>
          <p:cNvSpPr/>
          <p:nvPr/>
        </p:nvSpPr>
        <p:spPr>
          <a:xfrm>
            <a:off x="676275" y="3124200"/>
            <a:ext cx="7816850" cy="2078038"/>
          </a:xfrm>
          <a:prstGeom prst="rect">
            <a:avLst/>
          </a:prstGeom>
          <a:noFill/>
          <a:ln w="6350" cmpd="dbl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6" y="3200399"/>
            <a:ext cx="7696200" cy="1295401"/>
          </a:xfrm>
        </p:spPr>
        <p:txBody>
          <a:bodyPr anchor="b" anchorCtr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4000" kern="1200" cap="all" baseline="0" dirty="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6456" y="4607510"/>
            <a:ext cx="7696200" cy="523783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 cap="all" spc="250" baseline="0">
                <a:solidFill>
                  <a:srgbClr val="FFFFFF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394309-40EF-4300-8462-89505322C558}" type="datetimeFigureOut">
              <a:rPr lang="ru-RU"/>
              <a:pPr>
                <a:defRPr/>
              </a:pPr>
              <a:t>11.12.2018</a:t>
            </a:fld>
            <a:endParaRPr lang="ru-RU" alt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56BF9C-60BA-4CEB-97CA-781A718EB476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37313167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fld id="{8930E1F8-EEDE-4949-BF15-5E3F2FEF0576}" type="datetimeFigureOut">
              <a:rPr lang="ru-RU"/>
              <a:pPr>
                <a:defRPr/>
              </a:pPr>
              <a:t>11.12.2018</a:t>
            </a:fld>
            <a:endParaRPr lang="ru-RU" alt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fld id="{03B76487-891F-4596-93B1-1C816236EEA9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388857501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fld id="{3DFF588C-C0A6-4FE8-BB4C-E938E06AAB17}" type="datetimeFigureOut">
              <a:rPr lang="ru-RU"/>
              <a:pPr>
                <a:defRPr/>
              </a:pPr>
              <a:t>11.12.2018</a:t>
            </a:fld>
            <a:endParaRPr lang="ru-RU" alt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fld id="{D8BD566D-1784-4AAB-A422-48DC6CF980C2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247608381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fld id="{82783D0F-5EA3-4A00-A79C-342E7A18102A}" type="datetimeFigureOut">
              <a:rPr lang="ru-RU"/>
              <a:pPr>
                <a:defRPr/>
              </a:pPr>
              <a:t>11.12.2018</a:t>
            </a:fld>
            <a:endParaRPr lang="ru-RU" alt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fld id="{A341EDF0-AE3A-4FE1-84C2-F665BA2AEBBA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255543198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7813"/>
            <a:ext cx="2057400" cy="5853112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7813"/>
            <a:ext cx="6019800" cy="5853112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fld id="{3806530F-575C-4C8F-8131-218C17D2C049}" type="datetimeFigureOut">
              <a:rPr lang="ru-RU"/>
              <a:pPr>
                <a:defRPr/>
              </a:pPr>
              <a:t>11.12.2018</a:t>
            </a:fld>
            <a:endParaRPr lang="ru-RU" alt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fld id="{1906A506-49B5-4890-AAE3-4A083A144D51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87933905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7813"/>
            <a:ext cx="8229600" cy="11398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57200" y="1600200"/>
            <a:ext cx="8229600" cy="4530725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fld id="{8604DD06-A287-4604-AEE7-6DE49AE4B153}" type="datetimeFigureOut">
              <a:rPr lang="ru-RU"/>
              <a:pPr>
                <a:defRPr/>
              </a:pPr>
              <a:t>11.12.2018</a:t>
            </a:fld>
            <a:endParaRPr lang="ru-RU" alt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fld id="{311EBA61-12BE-43E3-BFE8-2E29CB47DAB2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9999490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 useBgFill="1">
        <p:nvSpPr>
          <p:cNvPr id="5" name="Rounded Rectangle 7"/>
          <p:cNvSpPr/>
          <p:nvPr/>
        </p:nvSpPr>
        <p:spPr>
          <a:xfrm>
            <a:off x="92075" y="101600"/>
            <a:ext cx="8959850" cy="6664325"/>
          </a:xfrm>
          <a:prstGeom prst="roundRect">
            <a:avLst>
              <a:gd name="adj" fmla="val 1735"/>
            </a:avLst>
          </a:prstGeom>
          <a:ln w="12700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Rectangle 8"/>
          <p:cNvSpPr/>
          <p:nvPr/>
        </p:nvSpPr>
        <p:spPr>
          <a:xfrm>
            <a:off x="345440" y="2942602"/>
            <a:ext cx="7147931" cy="2463800"/>
          </a:xfrm>
          <a:prstGeom prst="rect">
            <a:avLst/>
          </a:prstGeom>
          <a:solidFill>
            <a:srgbClr val="FFFFFF">
              <a:alpha val="83000"/>
            </a:srgbClr>
          </a:solidFill>
          <a:ln>
            <a:noFill/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Rectangle 11"/>
          <p:cNvSpPr/>
          <p:nvPr/>
        </p:nvSpPr>
        <p:spPr>
          <a:xfrm>
            <a:off x="7572652" y="2944634"/>
            <a:ext cx="1190348" cy="2459736"/>
          </a:xfrm>
          <a:prstGeom prst="rect">
            <a:avLst/>
          </a:prstGeom>
          <a:solidFill>
            <a:srgbClr val="FFFFFF">
              <a:alpha val="83000"/>
            </a:srgbClr>
          </a:solidFill>
          <a:ln>
            <a:noFill/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12"/>
          <p:cNvSpPr/>
          <p:nvPr/>
        </p:nvSpPr>
        <p:spPr>
          <a:xfrm>
            <a:off x="7712075" y="3136900"/>
            <a:ext cx="911225" cy="2074863"/>
          </a:xfrm>
          <a:prstGeom prst="rect">
            <a:avLst/>
          </a:prstGeom>
          <a:solidFill>
            <a:schemeClr val="accent3">
              <a:alpha val="70000"/>
            </a:schemeClr>
          </a:solidFill>
          <a:ln w="63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13"/>
          <p:cNvSpPr/>
          <p:nvPr/>
        </p:nvSpPr>
        <p:spPr>
          <a:xfrm>
            <a:off x="446088" y="3055938"/>
            <a:ext cx="6946900" cy="2244725"/>
          </a:xfrm>
          <a:prstGeom prst="rect">
            <a:avLst/>
          </a:prstGeom>
          <a:solidFill>
            <a:srgbClr val="FFFFFF"/>
          </a:solidFill>
          <a:ln w="6350" cmpd="dbl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Rectangle 10"/>
          <p:cNvSpPr/>
          <p:nvPr/>
        </p:nvSpPr>
        <p:spPr>
          <a:xfrm>
            <a:off x="541338" y="4559300"/>
            <a:ext cx="6756400" cy="663575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Rectangle 9"/>
          <p:cNvSpPr/>
          <p:nvPr/>
        </p:nvSpPr>
        <p:spPr>
          <a:xfrm>
            <a:off x="539750" y="3140075"/>
            <a:ext cx="6759575" cy="2076450"/>
          </a:xfrm>
          <a:prstGeom prst="rect">
            <a:avLst/>
          </a:prstGeom>
          <a:noFill/>
          <a:ln w="6350" cmpd="dbl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2805" y="4648200"/>
            <a:ext cx="6553200" cy="457200"/>
          </a:xfrm>
        </p:spPr>
        <p:txBody>
          <a:bodyPr>
            <a:normAutofit/>
          </a:bodyPr>
          <a:lstStyle>
            <a:lvl1pPr marL="0" indent="0" algn="ctr">
              <a:buNone/>
              <a:defRPr sz="1800" cap="all" spc="3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4705" y="3227033"/>
            <a:ext cx="6629400" cy="1219201"/>
          </a:xfrm>
        </p:spPr>
        <p:txBody>
          <a:bodyPr anchor="b" anchorCtr="0">
            <a:noAutofit/>
          </a:bodyPr>
          <a:lstStyle>
            <a:lvl1pPr>
              <a:defRPr sz="40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24456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24456"/>
              </a:solidFill>
            </a:endParaRP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786688" y="4625975"/>
            <a:ext cx="762000" cy="457200"/>
          </a:xfrm>
        </p:spPr>
        <p:txBody>
          <a:bodyPr/>
          <a:lstStyle>
            <a:lvl1pPr algn="ctr">
              <a:defRPr sz="28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5150F6B3-2E8D-4F26-A636-ABE172D9A6BB}" type="slidenum">
              <a:rPr lang="ru-RU">
                <a:solidFill>
                  <a:srgbClr val="53548A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53548A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4113178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2445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2445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2BEA47-B44D-4AFD-9C8B-93CCECB47EA6}" type="slidenum">
              <a:rPr lang="ru-RU">
                <a:solidFill>
                  <a:srgbClr val="424456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42445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5655346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 useBgFill="1">
        <p:nvSpPr>
          <p:cNvPr id="5" name="Rounded Rectangle 7"/>
          <p:cNvSpPr/>
          <p:nvPr/>
        </p:nvSpPr>
        <p:spPr>
          <a:xfrm>
            <a:off x="92075" y="101600"/>
            <a:ext cx="8959850" cy="6664325"/>
          </a:xfrm>
          <a:prstGeom prst="roundRect">
            <a:avLst>
              <a:gd name="adj" fmla="val 1735"/>
            </a:avLst>
          </a:prstGeom>
          <a:ln w="12700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Rectangle 12"/>
          <p:cNvSpPr/>
          <p:nvPr/>
        </p:nvSpPr>
        <p:spPr>
          <a:xfrm>
            <a:off x="451976" y="2946400"/>
            <a:ext cx="8265160" cy="2463800"/>
          </a:xfrm>
          <a:prstGeom prst="rect">
            <a:avLst/>
          </a:prstGeom>
          <a:solidFill>
            <a:srgbClr val="FFFFFF">
              <a:alpha val="83000"/>
            </a:srgbClr>
          </a:solidFill>
          <a:ln>
            <a:noFill/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Rectangle 15"/>
          <p:cNvSpPr/>
          <p:nvPr/>
        </p:nvSpPr>
        <p:spPr>
          <a:xfrm>
            <a:off x="568325" y="3048000"/>
            <a:ext cx="8032750" cy="2244725"/>
          </a:xfrm>
          <a:prstGeom prst="rect">
            <a:avLst/>
          </a:prstGeom>
          <a:solidFill>
            <a:srgbClr val="FFFFFF"/>
          </a:solidFill>
          <a:ln w="6350" cmpd="dbl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14"/>
          <p:cNvSpPr/>
          <p:nvPr/>
        </p:nvSpPr>
        <p:spPr>
          <a:xfrm>
            <a:off x="676275" y="4541838"/>
            <a:ext cx="7816850" cy="663575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13"/>
          <p:cNvSpPr/>
          <p:nvPr/>
        </p:nvSpPr>
        <p:spPr>
          <a:xfrm>
            <a:off x="676275" y="3124200"/>
            <a:ext cx="7816850" cy="2078038"/>
          </a:xfrm>
          <a:prstGeom prst="rect">
            <a:avLst/>
          </a:prstGeom>
          <a:noFill/>
          <a:ln w="6350" cmpd="dbl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6" y="3200399"/>
            <a:ext cx="7696200" cy="1295401"/>
          </a:xfrm>
        </p:spPr>
        <p:txBody>
          <a:bodyPr anchor="b" anchorCtr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4000" kern="1200" cap="all" baseline="0" dirty="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6456" y="4607510"/>
            <a:ext cx="7696200" cy="523783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 cap="all" spc="250" baseline="0">
                <a:solidFill>
                  <a:srgbClr val="FFFFFF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24456"/>
              </a:solidFill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24456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6E4C70-0CCA-474C-8917-5BB334D745AD}" type="slidenum">
              <a:rPr lang="ru-RU">
                <a:solidFill>
                  <a:srgbClr val="424456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42445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042549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128" y="408372"/>
            <a:ext cx="8260672" cy="103942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6128" y="1719071"/>
            <a:ext cx="4038600" cy="440740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719071"/>
            <a:ext cx="4038600" cy="440740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24456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24456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342784-ED37-45E2-80CC-D30B6C41AE5C}" type="slidenum">
              <a:rPr lang="ru-RU">
                <a:solidFill>
                  <a:srgbClr val="424456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42445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7226856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128" y="408372"/>
            <a:ext cx="8260672" cy="1039427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6128" y="1722438"/>
            <a:ext cx="4040188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26128" y="2438400"/>
            <a:ext cx="4040188" cy="368776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722438"/>
            <a:ext cx="4041775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438400"/>
            <a:ext cx="4041775" cy="368776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24456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24456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A88D54-09CD-4598-9F2A-2E15FC47B3D9}" type="slidenum">
              <a:rPr lang="ru-RU">
                <a:solidFill>
                  <a:srgbClr val="424456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42445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6389407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128" y="408372"/>
            <a:ext cx="8260672" cy="103942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6128" y="1719071"/>
            <a:ext cx="4038600" cy="440740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719071"/>
            <a:ext cx="4038600" cy="440740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94E17D-7518-4F4C-B264-BF8D87D123B1}" type="datetimeFigureOut">
              <a:rPr lang="ru-RU"/>
              <a:pPr>
                <a:defRPr/>
              </a:pPr>
              <a:t>11.12.2018</a:t>
            </a:fld>
            <a:endParaRPr lang="ru-RU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591897-193C-435F-BB52-E0C0F5BB986D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427831778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24456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24456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F8FFB99-08A0-439D-8930-74D42211FC2C}" type="slidenum">
              <a:rPr lang="ru-RU">
                <a:solidFill>
                  <a:srgbClr val="424456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42445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8992188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 useBgFill="1">
        <p:nvSpPr>
          <p:cNvPr id="3" name="Rounded Rectangle 10"/>
          <p:cNvSpPr/>
          <p:nvPr/>
        </p:nvSpPr>
        <p:spPr>
          <a:xfrm>
            <a:off x="92075" y="101600"/>
            <a:ext cx="8959850" cy="6664325"/>
          </a:xfrm>
          <a:prstGeom prst="roundRect">
            <a:avLst>
              <a:gd name="adj" fmla="val 1735"/>
            </a:avLst>
          </a:prstGeom>
          <a:ln w="12700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24456"/>
              </a:solidFill>
            </a:endParaRP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24456"/>
              </a:solidFill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83DDED-B33E-4A11-A122-CDB8A3BDBE81}" type="slidenum">
              <a:rPr lang="ru-RU">
                <a:solidFill>
                  <a:srgbClr val="424456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42445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2378539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 useBgFill="1">
        <p:nvSpPr>
          <p:cNvPr id="6" name="Rounded Rectangle 11"/>
          <p:cNvSpPr/>
          <p:nvPr/>
        </p:nvSpPr>
        <p:spPr>
          <a:xfrm>
            <a:off x="92075" y="101600"/>
            <a:ext cx="8959850" cy="6664325"/>
          </a:xfrm>
          <a:prstGeom prst="roundRect">
            <a:avLst>
              <a:gd name="adj" fmla="val 1735"/>
            </a:avLst>
          </a:prstGeom>
          <a:ln w="12700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Rectangle 7"/>
          <p:cNvSpPr/>
          <p:nvPr/>
        </p:nvSpPr>
        <p:spPr>
          <a:xfrm>
            <a:off x="560034" y="1505712"/>
            <a:ext cx="2716566" cy="3523488"/>
          </a:xfrm>
          <a:prstGeom prst="rect">
            <a:avLst/>
          </a:prstGeom>
          <a:solidFill>
            <a:srgbClr val="FFFFFF">
              <a:alpha val="83000"/>
            </a:srgbClr>
          </a:solidFill>
          <a:ln>
            <a:noFill/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9"/>
          <p:cNvSpPr/>
          <p:nvPr/>
        </p:nvSpPr>
        <p:spPr>
          <a:xfrm>
            <a:off x="676275" y="1643063"/>
            <a:ext cx="2484438" cy="3233737"/>
          </a:xfrm>
          <a:prstGeom prst="rect">
            <a:avLst/>
          </a:prstGeom>
          <a:solidFill>
            <a:srgbClr val="FFFFFF"/>
          </a:solidFill>
          <a:ln w="6350" cmpd="dbl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6200" y="685800"/>
            <a:ext cx="4572000" cy="5257802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69000" y="2971800"/>
            <a:ext cx="2298634" cy="1752600"/>
          </a:xfrm>
        </p:spPr>
        <p:txBody>
          <a:bodyPr/>
          <a:lstStyle>
            <a:lvl1pPr marL="0" indent="0">
              <a:spcBef>
                <a:spcPts val="400"/>
              </a:spcBef>
              <a:buNone/>
              <a:defRPr sz="1400">
                <a:solidFill>
                  <a:schemeClr val="accent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9000" y="1734312"/>
            <a:ext cx="2298634" cy="1191620"/>
          </a:xfrm>
        </p:spPr>
        <p:txBody>
          <a:bodyPr anchor="b"/>
          <a:lstStyle>
            <a:lvl1pPr algn="l">
              <a:defRPr sz="2000" b="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24456"/>
              </a:solidFill>
            </a:endParaRPr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24456"/>
              </a:solidFill>
            </a:endParaRPr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CD4C80-D41B-4C9D-A97B-64A982C7E906}" type="slidenum">
              <a:rPr lang="ru-RU">
                <a:solidFill>
                  <a:srgbClr val="424456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42445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5021326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 useBgFill="1">
        <p:nvSpPr>
          <p:cNvPr id="6" name="Rounded Rectangle 8"/>
          <p:cNvSpPr/>
          <p:nvPr/>
        </p:nvSpPr>
        <p:spPr>
          <a:xfrm>
            <a:off x="92075" y="101600"/>
            <a:ext cx="8959850" cy="6664325"/>
          </a:xfrm>
          <a:prstGeom prst="roundRect">
            <a:avLst>
              <a:gd name="adj" fmla="val 1735"/>
            </a:avLst>
          </a:prstGeom>
          <a:ln w="12700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Rectangle 9"/>
          <p:cNvSpPr/>
          <p:nvPr/>
        </p:nvSpPr>
        <p:spPr>
          <a:xfrm>
            <a:off x="685800" y="4953000"/>
            <a:ext cx="7772400" cy="1371600"/>
          </a:xfrm>
          <a:prstGeom prst="rect">
            <a:avLst/>
          </a:prstGeom>
          <a:solidFill>
            <a:srgbClr val="FFFFFF">
              <a:alpha val="83000"/>
            </a:srgbClr>
          </a:solidFill>
          <a:ln>
            <a:noFill/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11"/>
          <p:cNvSpPr/>
          <p:nvPr/>
        </p:nvSpPr>
        <p:spPr>
          <a:xfrm>
            <a:off x="762000" y="5029200"/>
            <a:ext cx="7600950" cy="1203325"/>
          </a:xfrm>
          <a:prstGeom prst="rect">
            <a:avLst/>
          </a:prstGeom>
          <a:solidFill>
            <a:srgbClr val="FFFFFF"/>
          </a:solidFill>
          <a:ln w="6350" cmpd="dbl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12"/>
          <p:cNvSpPr/>
          <p:nvPr/>
        </p:nvSpPr>
        <p:spPr>
          <a:xfrm>
            <a:off x="914400" y="5638800"/>
            <a:ext cx="7327900" cy="452438"/>
          </a:xfrm>
          <a:prstGeom prst="rect">
            <a:avLst/>
          </a:prstGeom>
          <a:solidFill>
            <a:schemeClr val="accent1"/>
          </a:solidFill>
          <a:ln w="6350" cmpd="dbl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Rectangle 10"/>
          <p:cNvSpPr/>
          <p:nvPr/>
        </p:nvSpPr>
        <p:spPr>
          <a:xfrm>
            <a:off x="604838" y="5075238"/>
            <a:ext cx="7947025" cy="1096962"/>
          </a:xfrm>
          <a:prstGeom prst="rect">
            <a:avLst/>
          </a:prstGeom>
          <a:noFill/>
          <a:ln w="6350" cmpd="dbl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85800" y="621437"/>
            <a:ext cx="7772400" cy="4331564"/>
          </a:xfrm>
          <a:solidFill>
            <a:schemeClr val="bg2"/>
          </a:solidFill>
          <a:ln>
            <a:noFill/>
          </a:ln>
          <a:effectLst>
            <a:softEdge rad="12700"/>
          </a:effectLst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56289" y="5656556"/>
            <a:ext cx="7244736" cy="401715"/>
          </a:xfrm>
        </p:spPr>
        <p:txBody>
          <a:bodyPr anchor="ctr">
            <a:normAutofit/>
          </a:bodyPr>
          <a:lstStyle>
            <a:lvl1pPr marL="0" indent="0" algn="ctr">
              <a:buNone/>
              <a:defRPr sz="1500" cap="all" spc="250" baseline="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5105400"/>
            <a:ext cx="7328514" cy="523043"/>
          </a:xfrm>
        </p:spPr>
        <p:txBody>
          <a:bodyPr anchorCtr="0"/>
          <a:lstStyle>
            <a:lvl1pPr algn="ctr">
              <a:defRPr sz="2000" b="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1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24456"/>
              </a:solidFill>
            </a:endParaRPr>
          </a:p>
        </p:txBody>
      </p:sp>
      <p:sp>
        <p:nvSpPr>
          <p:cNvPr id="12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97015A-72C8-458A-93B2-1E41EE0350A0}" type="slidenum">
              <a:rPr lang="ru-RU">
                <a:solidFill>
                  <a:srgbClr val="424456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424456"/>
              </a:solidFill>
            </a:endParaRPr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2445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1403808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2445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2445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3464C7-9D9C-42F9-B55B-C1D06A3DFBF8}" type="slidenum">
              <a:rPr lang="ru-RU">
                <a:solidFill>
                  <a:srgbClr val="424456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42445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8191550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/>
          <p:nvPr/>
        </p:nvSpPr>
        <p:spPr>
          <a:xfrm>
            <a:off x="6861175" y="228600"/>
            <a:ext cx="1860550" cy="6122988"/>
          </a:xfrm>
          <a:prstGeom prst="rect">
            <a:avLst/>
          </a:prstGeom>
          <a:solidFill>
            <a:srgbClr val="FFFFFF">
              <a:alpha val="85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5" name="Rectangle 7"/>
          <p:cNvSpPr/>
          <p:nvPr/>
        </p:nvSpPr>
        <p:spPr>
          <a:xfrm>
            <a:off x="6954838" y="350838"/>
            <a:ext cx="1673225" cy="5876925"/>
          </a:xfrm>
          <a:prstGeom prst="rect">
            <a:avLst/>
          </a:prstGeom>
          <a:solidFill>
            <a:srgbClr val="FFFF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48577" y="395427"/>
            <a:ext cx="1485531" cy="5788981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380999"/>
            <a:ext cx="6172200" cy="5791201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24456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24456"/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C5B2B1-ADCF-44D4-B809-DD16270CC7E3}" type="slidenum">
              <a:rPr lang="ru-RU">
                <a:solidFill>
                  <a:srgbClr val="424456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42445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1378274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6" name="doc id"/>
          <p:cNvSpPr>
            <a:spLocks noGrp="1" noChangeArrowheads="1"/>
          </p:cNvSpPr>
          <p:nvPr>
            <p:ph type="ftr" sz="quarter" idx="3"/>
          </p:nvPr>
        </p:nvSpPr>
        <p:spPr>
          <a:xfrm>
            <a:off x="8915537" y="37255"/>
            <a:ext cx="65" cy="123111"/>
          </a:xfrm>
        </p:spPr>
        <p:txBody>
          <a:bodyPr/>
          <a:lstStyle>
            <a:lvl1pPr algn="r">
              <a:defRPr b="0">
                <a:solidFill>
                  <a:srgbClr val="000000"/>
                </a:solidFill>
              </a:defRPr>
            </a:lvl1pPr>
          </a:lstStyle>
          <a:p>
            <a:endParaRPr lang="ru-RU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5" y="2756807"/>
            <a:ext cx="5130034" cy="372541"/>
          </a:xfrm>
        </p:spPr>
        <p:txBody>
          <a:bodyPr/>
          <a:lstStyle>
            <a:lvl1pPr>
              <a:defRPr sz="2400" b="0"/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5" y="3961896"/>
            <a:ext cx="5130034" cy="217046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grpSp>
        <p:nvGrpSpPr>
          <p:cNvPr id="13351" name="McK Title Elements"/>
          <p:cNvGrpSpPr>
            <a:grpSpLocks/>
          </p:cNvGrpSpPr>
          <p:nvPr/>
        </p:nvGrpSpPr>
        <p:grpSpPr bwMode="auto">
          <a:xfrm>
            <a:off x="2693795" y="2183416"/>
            <a:ext cx="5130034" cy="4601696"/>
            <a:chOff x="1663" y="1348"/>
            <a:chExt cx="3167" cy="2841"/>
          </a:xfrm>
        </p:grpSpPr>
        <p:sp>
          <p:nvSpPr>
            <p:cNvPr id="13331" name="McK Confidential" hidden="1"/>
            <p:cNvSpPr txBox="1">
              <a:spLocks noChangeArrowheads="1"/>
            </p:cNvSpPr>
            <p:nvPr userDrawn="1"/>
          </p:nvSpPr>
          <p:spPr bwMode="auto">
            <a:xfrm>
              <a:off x="1663" y="1348"/>
              <a:ext cx="1186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ru-RU" sz="1400" smtClean="0">
                  <a:solidFill>
                    <a:srgbClr val="000000"/>
                  </a:solidFill>
                  <a:latin typeface="Arial" pitchFamily="34" charset="0"/>
                </a:rPr>
                <a:t>КОНФИДЕНЦИАЛЬНО</a:t>
              </a:r>
              <a:endParaRPr lang="en-US" sz="14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332" name="McK Document" hidden="1"/>
            <p:cNvSpPr txBox="1">
              <a:spLocks noChangeArrowheads="1"/>
            </p:cNvSpPr>
            <p:nvPr userDrawn="1"/>
          </p:nvSpPr>
          <p:spPr bwMode="auto">
            <a:xfrm>
              <a:off x="1663" y="3049"/>
              <a:ext cx="316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r>
                <a:rPr lang="ru-RU" sz="1400" smtClean="0">
                  <a:solidFill>
                    <a:srgbClr val="000000"/>
                  </a:solidFill>
                  <a:latin typeface="Arial" pitchFamily="34" charset="0"/>
                </a:rPr>
                <a:t>Тип документа</a:t>
              </a:r>
              <a:endParaRPr lang="en-US" sz="14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333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16"/>
              <a:ext cx="316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r>
                <a:rPr lang="ru-RU" sz="1400" smtClean="0">
                  <a:solidFill>
                    <a:srgbClr val="000000"/>
                  </a:solidFill>
                  <a:latin typeface="Arial" pitchFamily="34" charset="0"/>
                </a:rPr>
                <a:t>Дата</a:t>
              </a:r>
              <a:endParaRPr lang="en-US" sz="14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334" name="McK Disclaimer" hidden="1"/>
            <p:cNvSpPr>
              <a:spLocks noChangeArrowheads="1"/>
            </p:cNvSpPr>
            <p:nvPr userDrawn="1">
              <p:custDataLst>
                <p:tags r:id="rId1"/>
              </p:custDataLst>
            </p:nvPr>
          </p:nvSpPr>
          <p:spPr bwMode="auto">
            <a:xfrm>
              <a:off x="1663" y="3415"/>
              <a:ext cx="2303" cy="7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ru-RU" sz="900" smtClean="0">
                  <a:solidFill>
                    <a:srgbClr val="000000"/>
                  </a:solidFill>
                  <a:latin typeface="Arial" pitchFamily="34" charset="0"/>
                </a:rPr>
                <a:t>Настоящий отчет предназначен исключительно для сотрудников организации-клиента. Никакая его часть не подлежит передаче, цитированию или воспроизведению с целью распространения вне организации-клиента без предварительного письменного разрешения со стороны McKinsey &amp; Company.</a:t>
              </a:r>
            </a:p>
            <a:p>
              <a:pPr defTabSz="821202" eaLnBrk="0" hangingPunct="0"/>
              <a:endParaRPr lang="ru-RU" sz="900" smtClean="0">
                <a:solidFill>
                  <a:srgbClr val="000000"/>
                </a:solidFill>
                <a:latin typeface="Arial" pitchFamily="34" charset="0"/>
              </a:endParaRPr>
            </a:p>
            <a:p>
              <a:pPr defTabSz="821202" eaLnBrk="0" hangingPunct="0"/>
              <a:r>
                <a:rPr lang="ru-RU" sz="900" smtClean="0">
                  <a:solidFill>
                    <a:srgbClr val="000000"/>
                  </a:solidFill>
                  <a:latin typeface="Arial" pitchFamily="34" charset="0"/>
                </a:rPr>
                <a:t>Настоящий отчет был использован консультантами </a:t>
              </a:r>
              <a:br>
                <a:rPr lang="ru-RU" sz="900" smtClean="0">
                  <a:solidFill>
                    <a:srgbClr val="000000"/>
                  </a:solidFill>
                  <a:latin typeface="Arial" pitchFamily="34" charset="0"/>
                </a:rPr>
              </a:br>
              <a:r>
                <a:rPr lang="ru-RU" sz="900" smtClean="0">
                  <a:solidFill>
                    <a:srgbClr val="000000"/>
                  </a:solidFill>
                  <a:latin typeface="Arial" pitchFamily="34" charset="0"/>
                </a:rPr>
                <a:t>McKinsey &amp; Company для сопровождения устного доклада и не содержит полного изложения данной темы.</a:t>
              </a:r>
            </a:p>
          </p:txBody>
        </p:sp>
      </p:grpSp>
      <p:sp>
        <p:nvSpPr>
          <p:cNvPr id="13343" name="Working Draft Text" hidden="1"/>
          <p:cNvSpPr>
            <a:spLocks noChangeArrowheads="1"/>
          </p:cNvSpPr>
          <p:nvPr/>
        </p:nvSpPr>
        <p:spPr bwMode="auto">
          <a:xfrm>
            <a:off x="427638" y="349865"/>
            <a:ext cx="3110094" cy="217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913526">
              <a:buSzPct val="120000"/>
            </a:pPr>
            <a:r>
              <a:rPr lang="en-US" sz="1400" smtClean="0">
                <a:solidFill>
                  <a:srgbClr val="000000"/>
                </a:solidFill>
                <a:latin typeface="Arial" pitchFamily="34" charset="0"/>
              </a:rPr>
              <a:t>Working Draft    </a:t>
            </a:r>
          </a:p>
        </p:txBody>
      </p:sp>
      <p:sp>
        <p:nvSpPr>
          <p:cNvPr id="13344" name="Working Draft" hidden="1"/>
          <p:cNvSpPr txBox="1">
            <a:spLocks noChangeArrowheads="1"/>
          </p:cNvSpPr>
          <p:nvPr/>
        </p:nvSpPr>
        <p:spPr bwMode="auto">
          <a:xfrm>
            <a:off x="427638" y="594447"/>
            <a:ext cx="4049601" cy="1862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smtClean="0">
                <a:solidFill>
                  <a:srgbClr val="000000"/>
                </a:solidFill>
                <a:latin typeface="Arial" pitchFamily="34" charset="0"/>
              </a:rPr>
              <a:t>Last Modified 09/06/2006 21:40:09 Russian Standard Time</a:t>
            </a:r>
          </a:p>
        </p:txBody>
      </p:sp>
      <p:sp>
        <p:nvSpPr>
          <p:cNvPr id="13345" name="Printed" hidden="1"/>
          <p:cNvSpPr txBox="1">
            <a:spLocks noChangeArrowheads="1"/>
          </p:cNvSpPr>
          <p:nvPr/>
        </p:nvSpPr>
        <p:spPr bwMode="auto">
          <a:xfrm>
            <a:off x="427638" y="816352"/>
            <a:ext cx="3618724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smtClean="0">
                <a:solidFill>
                  <a:srgbClr val="000000"/>
                </a:solidFill>
                <a:latin typeface="Arial" pitchFamily="34" charset="0"/>
              </a:rPr>
              <a:t>Printed 08/06/2006 17:52:59 Russian Standard Time</a:t>
            </a:r>
          </a:p>
        </p:txBody>
      </p:sp>
    </p:spTree>
    <p:extLst>
      <p:ext uri="{BB962C8B-B14F-4D97-AF65-F5344CB8AC3E}">
        <p14:creationId xmlns:p14="http://schemas.microsoft.com/office/powerpoint/2010/main" val="123098545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8BA2CC6-C6B6-480E-9684-7003AC856817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144558012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449" y="4407327"/>
            <a:ext cx="7771995" cy="630942"/>
          </a:xfrm>
        </p:spPr>
        <p:txBody>
          <a:bodyPr/>
          <a:lstStyle>
            <a:lvl1pPr algn="l">
              <a:defRPr sz="41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449" y="4099550"/>
            <a:ext cx="7771995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66481" indent="0">
              <a:buNone/>
              <a:defRPr sz="1800"/>
            </a:lvl2pPr>
            <a:lvl3pPr marL="932962" indent="0">
              <a:buNone/>
              <a:defRPr sz="1600"/>
            </a:lvl3pPr>
            <a:lvl4pPr marL="1399443" indent="0">
              <a:buNone/>
              <a:defRPr sz="1400"/>
            </a:lvl4pPr>
            <a:lvl5pPr marL="1865925" indent="0">
              <a:buNone/>
              <a:defRPr sz="1400"/>
            </a:lvl5pPr>
            <a:lvl6pPr marL="2332406" indent="0">
              <a:buNone/>
              <a:defRPr sz="1400"/>
            </a:lvl6pPr>
            <a:lvl7pPr marL="2798887" indent="0">
              <a:buNone/>
              <a:defRPr sz="1400"/>
            </a:lvl7pPr>
            <a:lvl8pPr marL="3265368" indent="0">
              <a:buNone/>
              <a:defRPr sz="1400"/>
            </a:lvl8pPr>
            <a:lvl9pPr marL="3731849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003F4B-2088-467B-9DC0-EBE5E90EE1C3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15058282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24729" y="1299036"/>
            <a:ext cx="4318495" cy="1677382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98728" y="1299036"/>
            <a:ext cx="4320114" cy="1677382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ABE9C6A-E278-431D-A96D-1DF63D209A43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34515735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128" y="408372"/>
            <a:ext cx="8260672" cy="1039427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6128" y="1722438"/>
            <a:ext cx="4040188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26128" y="2438400"/>
            <a:ext cx="4040188" cy="368776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722438"/>
            <a:ext cx="4041775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438400"/>
            <a:ext cx="4041775" cy="368776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E294EB-4D0E-4CB9-98E5-AA44CBB9DCB1}" type="datetimeFigureOut">
              <a:rPr lang="ru-RU"/>
              <a:pPr>
                <a:defRPr/>
              </a:pPr>
              <a:t>11.12.2018</a:t>
            </a:fld>
            <a:endParaRPr lang="ru-RU" alt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A7069E-67E4-4A30-94C9-52CAE5388926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372629860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6795" y="275356"/>
            <a:ext cx="8230410" cy="292388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6796" y="1805987"/>
            <a:ext cx="4039882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481" indent="0">
              <a:buNone/>
              <a:defRPr sz="2000" b="1"/>
            </a:lvl2pPr>
            <a:lvl3pPr marL="932962" indent="0">
              <a:buNone/>
              <a:defRPr sz="1800" b="1"/>
            </a:lvl3pPr>
            <a:lvl4pPr marL="1399443" indent="0">
              <a:buNone/>
              <a:defRPr sz="1600" b="1"/>
            </a:lvl4pPr>
            <a:lvl5pPr marL="1865925" indent="0">
              <a:buNone/>
              <a:defRPr sz="1600" b="1"/>
            </a:lvl5pPr>
            <a:lvl6pPr marL="2332406" indent="0">
              <a:buNone/>
              <a:defRPr sz="1600" b="1"/>
            </a:lvl6pPr>
            <a:lvl7pPr marL="2798887" indent="0">
              <a:buNone/>
              <a:defRPr sz="1600" b="1"/>
            </a:lvl7pPr>
            <a:lvl8pPr marL="3265368" indent="0">
              <a:buNone/>
              <a:defRPr sz="1600" b="1"/>
            </a:lvl8pPr>
            <a:lvl9pPr marL="373184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6796" y="2175318"/>
            <a:ext cx="4039882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703" y="1805987"/>
            <a:ext cx="4041502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481" indent="0">
              <a:buNone/>
              <a:defRPr sz="2000" b="1"/>
            </a:lvl2pPr>
            <a:lvl3pPr marL="932962" indent="0">
              <a:buNone/>
              <a:defRPr sz="1800" b="1"/>
            </a:lvl3pPr>
            <a:lvl4pPr marL="1399443" indent="0">
              <a:buNone/>
              <a:defRPr sz="1600" b="1"/>
            </a:lvl4pPr>
            <a:lvl5pPr marL="1865925" indent="0">
              <a:buNone/>
              <a:defRPr sz="1600" b="1"/>
            </a:lvl5pPr>
            <a:lvl6pPr marL="2332406" indent="0">
              <a:buNone/>
              <a:defRPr sz="1600" b="1"/>
            </a:lvl6pPr>
            <a:lvl7pPr marL="2798887" indent="0">
              <a:buNone/>
              <a:defRPr sz="1600" b="1"/>
            </a:lvl7pPr>
            <a:lvl8pPr marL="3265368" indent="0">
              <a:buNone/>
              <a:defRPr sz="1600" b="1"/>
            </a:lvl8pPr>
            <a:lvl9pPr marL="373184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703" y="2175318"/>
            <a:ext cx="4041502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C82B1BA-72D5-4176-9692-224AAFBE27FD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49853911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B05B332-30C4-4278-8A68-48820D4AD6FD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401243084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61A1401-F3A0-47B6-9805-873E96865ACD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110696904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6795" y="1127318"/>
            <a:ext cx="3008044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4988" y="273738"/>
            <a:ext cx="5112217" cy="1938992"/>
          </a:xfrm>
        </p:spPr>
        <p:txBody>
          <a:bodyPr/>
          <a:lstStyle>
            <a:lvl1pPr>
              <a:defRPr sz="3300"/>
            </a:lvl1pPr>
            <a:lvl2pPr>
              <a:defRPr sz="29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6795" y="1435094"/>
            <a:ext cx="3008044" cy="215444"/>
          </a:xfrm>
        </p:spPr>
        <p:txBody>
          <a:bodyPr/>
          <a:lstStyle>
            <a:lvl1pPr marL="0" indent="0">
              <a:buNone/>
              <a:defRPr sz="1400"/>
            </a:lvl1pPr>
            <a:lvl2pPr marL="466481" indent="0">
              <a:buNone/>
              <a:defRPr sz="1200"/>
            </a:lvl2pPr>
            <a:lvl3pPr marL="932962" indent="0">
              <a:buNone/>
              <a:defRPr sz="1000"/>
            </a:lvl3pPr>
            <a:lvl4pPr marL="1399443" indent="0">
              <a:buNone/>
              <a:defRPr sz="900"/>
            </a:lvl4pPr>
            <a:lvl5pPr marL="1865925" indent="0">
              <a:buNone/>
              <a:defRPr sz="900"/>
            </a:lvl5pPr>
            <a:lvl6pPr marL="2332406" indent="0">
              <a:buNone/>
              <a:defRPr sz="900"/>
            </a:lvl6pPr>
            <a:lvl7pPr marL="2798887" indent="0">
              <a:buNone/>
              <a:defRPr sz="900"/>
            </a:lvl7pPr>
            <a:lvl8pPr marL="3265368" indent="0">
              <a:buNone/>
              <a:defRPr sz="900"/>
            </a:lvl8pPr>
            <a:lvl9pPr marL="373184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71465A8-2AE6-4628-ABFE-EF5BA87AE739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73057725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1544" y="5060058"/>
            <a:ext cx="548640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1544" y="612264"/>
            <a:ext cx="5486400" cy="507831"/>
          </a:xfrm>
        </p:spPr>
        <p:txBody>
          <a:bodyPr/>
          <a:lstStyle>
            <a:lvl1pPr marL="0" indent="0">
              <a:buNone/>
              <a:defRPr sz="3300"/>
            </a:lvl1pPr>
            <a:lvl2pPr marL="466481" indent="0">
              <a:buNone/>
              <a:defRPr sz="2900"/>
            </a:lvl2pPr>
            <a:lvl3pPr marL="932962" indent="0">
              <a:buNone/>
              <a:defRPr sz="2400"/>
            </a:lvl3pPr>
            <a:lvl4pPr marL="1399443" indent="0">
              <a:buNone/>
              <a:defRPr sz="2000"/>
            </a:lvl4pPr>
            <a:lvl5pPr marL="1865925" indent="0">
              <a:buNone/>
              <a:defRPr sz="2000"/>
            </a:lvl5pPr>
            <a:lvl6pPr marL="2332406" indent="0">
              <a:buNone/>
              <a:defRPr sz="2000"/>
            </a:lvl6pPr>
            <a:lvl7pPr marL="2798887" indent="0">
              <a:buNone/>
              <a:defRPr sz="2000"/>
            </a:lvl7pPr>
            <a:lvl8pPr marL="3265368" indent="0">
              <a:buNone/>
              <a:defRPr sz="2000"/>
            </a:lvl8pPr>
            <a:lvl9pPr marL="3731849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1544" y="5367835"/>
            <a:ext cx="548640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66481" indent="0">
              <a:buNone/>
              <a:defRPr sz="1200"/>
            </a:lvl2pPr>
            <a:lvl3pPr marL="932962" indent="0">
              <a:buNone/>
              <a:defRPr sz="1000"/>
            </a:lvl3pPr>
            <a:lvl4pPr marL="1399443" indent="0">
              <a:buNone/>
              <a:defRPr sz="900"/>
            </a:lvl4pPr>
            <a:lvl5pPr marL="1865925" indent="0">
              <a:buNone/>
              <a:defRPr sz="900"/>
            </a:lvl5pPr>
            <a:lvl6pPr marL="2332406" indent="0">
              <a:buNone/>
              <a:defRPr sz="900"/>
            </a:lvl6pPr>
            <a:lvl7pPr marL="2798887" indent="0">
              <a:buNone/>
              <a:defRPr sz="900"/>
            </a:lvl7pPr>
            <a:lvl8pPr marL="3265368" indent="0">
              <a:buNone/>
              <a:defRPr sz="900"/>
            </a:lvl8pPr>
            <a:lvl9pPr marL="373184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5F0A602-E7B5-44DB-8BE4-286CB939CAF4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345137235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964187" y="1299036"/>
            <a:ext cx="2954655" cy="1247204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BE6EB0C-9A56-4BF8-BBBD-49FB3128808C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165492704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626454" y="234864"/>
            <a:ext cx="292388" cy="231137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334108" y="234864"/>
            <a:ext cx="1231106" cy="231137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A64E0FD-4AC0-48CB-8D48-812EC57B74F2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13678111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489" y="234864"/>
            <a:ext cx="8794113" cy="294794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124729" y="1299036"/>
            <a:ext cx="8794113" cy="246221"/>
          </a:xfrm>
        </p:spPr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7010670" y="6660392"/>
            <a:ext cx="1904932" cy="186271"/>
          </a:xfrm>
        </p:spPr>
        <p:txBody>
          <a:bodyPr/>
          <a:lstStyle>
            <a:lvl1pPr>
              <a:defRPr/>
            </a:lvl1pPr>
          </a:lstStyle>
          <a:p>
            <a:fld id="{9D0D7CEC-88C5-4800-8F28-947414E2C470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150646" y="37255"/>
            <a:ext cx="1825560" cy="124720"/>
          </a:xfrm>
        </p:spPr>
        <p:txBody>
          <a:bodyPr/>
          <a:lstStyle>
            <a:lvl1pPr>
              <a:defRPr/>
            </a:lvl1pPr>
          </a:lstStyle>
          <a:p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356606467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489" y="234864"/>
            <a:ext cx="8794113" cy="294794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124729" y="1299036"/>
            <a:ext cx="8794113" cy="246221"/>
          </a:xfrm>
        </p:spPr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7010670" y="6660392"/>
            <a:ext cx="1904932" cy="186271"/>
          </a:xfrm>
        </p:spPr>
        <p:txBody>
          <a:bodyPr/>
          <a:lstStyle>
            <a:lvl1pPr>
              <a:defRPr/>
            </a:lvl1pPr>
          </a:lstStyle>
          <a:p>
            <a:fld id="{38339CE7-A514-47C2-AF0E-417D5BED4B4B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150646" y="37255"/>
            <a:ext cx="1825560" cy="124720"/>
          </a:xfrm>
        </p:spPr>
        <p:txBody>
          <a:bodyPr/>
          <a:lstStyle>
            <a:lvl1pPr>
              <a:defRPr/>
            </a:lvl1pPr>
          </a:lstStyle>
          <a:p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32983205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7A4B92-3D9F-4CC9-8DFD-38BE989D18F6}" type="datetimeFigureOut">
              <a:rPr lang="ru-RU"/>
              <a:pPr>
                <a:defRPr/>
              </a:pPr>
              <a:t>11.12.2018</a:t>
            </a:fld>
            <a:endParaRPr lang="ru-RU" alt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B19B4A-241D-4F96-823C-D767C20F46BD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18476690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 useBgFill="1">
        <p:nvSpPr>
          <p:cNvPr id="3" name="Rounded Rectangle 10"/>
          <p:cNvSpPr/>
          <p:nvPr/>
        </p:nvSpPr>
        <p:spPr>
          <a:xfrm>
            <a:off x="92075" y="101600"/>
            <a:ext cx="8959850" cy="6664325"/>
          </a:xfrm>
          <a:prstGeom prst="roundRect">
            <a:avLst>
              <a:gd name="adj" fmla="val 1735"/>
            </a:avLst>
          </a:prstGeom>
          <a:ln w="12700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C32AB5-0C79-4FD1-BB9C-585F6EAECF5F}" type="datetimeFigureOut">
              <a:rPr lang="ru-RU"/>
              <a:pPr>
                <a:defRPr/>
              </a:pPr>
              <a:t>11.12.2018</a:t>
            </a:fld>
            <a:endParaRPr lang="ru-RU" altLang="en-US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7F5510-C049-4FD9-95EB-06746CD2D78A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34513760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 useBgFill="1">
        <p:nvSpPr>
          <p:cNvPr id="6" name="Rounded Rectangle 11"/>
          <p:cNvSpPr/>
          <p:nvPr/>
        </p:nvSpPr>
        <p:spPr>
          <a:xfrm>
            <a:off x="92075" y="101600"/>
            <a:ext cx="8959850" cy="6664325"/>
          </a:xfrm>
          <a:prstGeom prst="roundRect">
            <a:avLst>
              <a:gd name="adj" fmla="val 1735"/>
            </a:avLst>
          </a:prstGeom>
          <a:ln w="12700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Rectangle 7"/>
          <p:cNvSpPr/>
          <p:nvPr/>
        </p:nvSpPr>
        <p:spPr>
          <a:xfrm>
            <a:off x="560034" y="1505712"/>
            <a:ext cx="2716566" cy="3523488"/>
          </a:xfrm>
          <a:prstGeom prst="rect">
            <a:avLst/>
          </a:prstGeom>
          <a:solidFill>
            <a:srgbClr val="FFFFFF">
              <a:alpha val="83000"/>
            </a:srgbClr>
          </a:solidFill>
          <a:ln>
            <a:noFill/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8" name="Rectangle 9"/>
          <p:cNvSpPr/>
          <p:nvPr/>
        </p:nvSpPr>
        <p:spPr>
          <a:xfrm>
            <a:off x="676275" y="1643063"/>
            <a:ext cx="2484438" cy="3233737"/>
          </a:xfrm>
          <a:prstGeom prst="rect">
            <a:avLst/>
          </a:prstGeom>
          <a:solidFill>
            <a:srgbClr val="FFFFFF"/>
          </a:solidFill>
          <a:ln w="6350" cmpd="dbl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6200" y="685800"/>
            <a:ext cx="4572000" cy="5257802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69000" y="2971800"/>
            <a:ext cx="2298634" cy="1752600"/>
          </a:xfrm>
        </p:spPr>
        <p:txBody>
          <a:bodyPr/>
          <a:lstStyle>
            <a:lvl1pPr marL="0" indent="0">
              <a:spcBef>
                <a:spcPts val="400"/>
              </a:spcBef>
              <a:buNone/>
              <a:defRPr sz="1400">
                <a:solidFill>
                  <a:schemeClr val="accent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9000" y="1734312"/>
            <a:ext cx="2298634" cy="1191620"/>
          </a:xfrm>
        </p:spPr>
        <p:txBody>
          <a:bodyPr anchor="b"/>
          <a:lstStyle>
            <a:lvl1pPr algn="l">
              <a:defRPr sz="2000" b="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C8333D1-B94F-4F2E-B228-6C3227587482}" type="datetimeFigureOut">
              <a:rPr lang="ru-RU"/>
              <a:pPr>
                <a:defRPr/>
              </a:pPr>
              <a:t>11.12.2018</a:t>
            </a:fld>
            <a:endParaRPr lang="ru-RU" altLang="en-US"/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414CC2-640F-4093-BCF6-D1676B4F53D0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2498821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 useBgFill="1">
        <p:nvSpPr>
          <p:cNvPr id="6" name="Rounded Rectangle 8"/>
          <p:cNvSpPr/>
          <p:nvPr/>
        </p:nvSpPr>
        <p:spPr>
          <a:xfrm>
            <a:off x="92075" y="101600"/>
            <a:ext cx="8959850" cy="6664325"/>
          </a:xfrm>
          <a:prstGeom prst="roundRect">
            <a:avLst>
              <a:gd name="adj" fmla="val 1735"/>
            </a:avLst>
          </a:prstGeom>
          <a:ln w="12700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Rectangle 9"/>
          <p:cNvSpPr/>
          <p:nvPr/>
        </p:nvSpPr>
        <p:spPr>
          <a:xfrm>
            <a:off x="685800" y="4953000"/>
            <a:ext cx="7772400" cy="1371600"/>
          </a:xfrm>
          <a:prstGeom prst="rect">
            <a:avLst/>
          </a:prstGeom>
          <a:solidFill>
            <a:srgbClr val="FFFFFF">
              <a:alpha val="83000"/>
            </a:srgbClr>
          </a:solidFill>
          <a:ln>
            <a:noFill/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8" name="Rectangle 11"/>
          <p:cNvSpPr/>
          <p:nvPr/>
        </p:nvSpPr>
        <p:spPr>
          <a:xfrm>
            <a:off x="762000" y="5029200"/>
            <a:ext cx="7600950" cy="1203325"/>
          </a:xfrm>
          <a:prstGeom prst="rect">
            <a:avLst/>
          </a:prstGeom>
          <a:solidFill>
            <a:srgbClr val="FFFFFF"/>
          </a:solidFill>
          <a:ln w="6350" cmpd="dbl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9" name="Rectangle 12"/>
          <p:cNvSpPr/>
          <p:nvPr/>
        </p:nvSpPr>
        <p:spPr>
          <a:xfrm>
            <a:off x="914400" y="5638800"/>
            <a:ext cx="7327900" cy="452438"/>
          </a:xfrm>
          <a:prstGeom prst="rect">
            <a:avLst/>
          </a:prstGeom>
          <a:solidFill>
            <a:schemeClr val="accent1"/>
          </a:solidFill>
          <a:ln w="6350" cmpd="dbl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" name="Rectangle 10"/>
          <p:cNvSpPr/>
          <p:nvPr/>
        </p:nvSpPr>
        <p:spPr>
          <a:xfrm>
            <a:off x="604838" y="5075238"/>
            <a:ext cx="7947025" cy="1096962"/>
          </a:xfrm>
          <a:prstGeom prst="rect">
            <a:avLst/>
          </a:prstGeom>
          <a:noFill/>
          <a:ln w="6350" cmpd="dbl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85800" y="621437"/>
            <a:ext cx="7772400" cy="4331564"/>
          </a:xfrm>
          <a:solidFill>
            <a:schemeClr val="bg2"/>
          </a:solidFill>
          <a:ln>
            <a:noFill/>
          </a:ln>
          <a:effectLst>
            <a:softEdge rad="12700"/>
          </a:effectLst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56289" y="5656556"/>
            <a:ext cx="7244736" cy="401715"/>
          </a:xfrm>
        </p:spPr>
        <p:txBody>
          <a:bodyPr anchor="ctr">
            <a:normAutofit/>
          </a:bodyPr>
          <a:lstStyle>
            <a:lvl1pPr marL="0" indent="0" algn="ctr">
              <a:buNone/>
              <a:defRPr sz="1500" cap="all" spc="250" baseline="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5105400"/>
            <a:ext cx="7328514" cy="523043"/>
          </a:xfrm>
        </p:spPr>
        <p:txBody>
          <a:bodyPr anchorCtr="0"/>
          <a:lstStyle>
            <a:lvl1pPr algn="ctr">
              <a:defRPr sz="2000" b="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1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BADADD-8D45-4EFC-8126-6D16D6CEB26A}" type="datetimeFigureOut">
              <a:rPr lang="ru-RU"/>
              <a:pPr>
                <a:defRPr/>
              </a:pPr>
              <a:t>11.12.2018</a:t>
            </a:fld>
            <a:endParaRPr lang="ru-RU" altLang="en-US"/>
          </a:p>
        </p:txBody>
      </p:sp>
      <p:sp>
        <p:nvSpPr>
          <p:cNvPr id="12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13C466-1D77-4543-A467-B5A56B5D995B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28920281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18" Type="http://schemas.openxmlformats.org/officeDocument/2006/relationships/tags" Target="../tags/tag3.xml"/><Relationship Id="rId26" Type="http://schemas.openxmlformats.org/officeDocument/2006/relationships/tags" Target="../tags/tag11.xml"/><Relationship Id="rId3" Type="http://schemas.openxmlformats.org/officeDocument/2006/relationships/slideLayout" Target="../slideLayouts/slideLayout48.xml"/><Relationship Id="rId21" Type="http://schemas.openxmlformats.org/officeDocument/2006/relationships/tags" Target="../tags/tag6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tags" Target="../tags/tag2.xml"/><Relationship Id="rId25" Type="http://schemas.openxmlformats.org/officeDocument/2006/relationships/tags" Target="../tags/tag10.xml"/><Relationship Id="rId2" Type="http://schemas.openxmlformats.org/officeDocument/2006/relationships/slideLayout" Target="../slideLayouts/slideLayout47.xml"/><Relationship Id="rId16" Type="http://schemas.openxmlformats.org/officeDocument/2006/relationships/tags" Target="../tags/tag1.xml"/><Relationship Id="rId20" Type="http://schemas.openxmlformats.org/officeDocument/2006/relationships/tags" Target="../tags/tag5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24" Type="http://schemas.openxmlformats.org/officeDocument/2006/relationships/tags" Target="../tags/tag9.xml"/><Relationship Id="rId5" Type="http://schemas.openxmlformats.org/officeDocument/2006/relationships/slideLayout" Target="../slideLayouts/slideLayout50.xml"/><Relationship Id="rId15" Type="http://schemas.openxmlformats.org/officeDocument/2006/relationships/vmlDrawing" Target="../drawings/vmlDrawing1.vml"/><Relationship Id="rId23" Type="http://schemas.openxmlformats.org/officeDocument/2006/relationships/tags" Target="../tags/tag8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55.xml"/><Relationship Id="rId19" Type="http://schemas.openxmlformats.org/officeDocument/2006/relationships/tags" Target="../tags/tag4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theme" Target="../theme/theme5.xml"/><Relationship Id="rId22" Type="http://schemas.openxmlformats.org/officeDocument/2006/relationships/tags" Target="../tags/tag7.xml"/><Relationship Id="rId27" Type="http://schemas.openxmlformats.org/officeDocument/2006/relationships/tags" Target="../tags/tag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 useBgFill="1">
        <p:nvSpPr>
          <p:cNvPr id="7" name="Rounded Rectangle 6"/>
          <p:cNvSpPr/>
          <p:nvPr/>
        </p:nvSpPr>
        <p:spPr>
          <a:xfrm>
            <a:off x="92075" y="101600"/>
            <a:ext cx="8959850" cy="6664325"/>
          </a:xfrm>
          <a:prstGeom prst="roundRect">
            <a:avLst>
              <a:gd name="adj" fmla="val 1735"/>
            </a:avLst>
          </a:prstGeom>
          <a:ln w="12700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752600"/>
            <a:ext cx="8229600" cy="4373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DB56AB8B-21F0-4EA1-94E1-C5EFF44E6CA6}" type="datetimeFigureOut">
              <a:rPr lang="ru-RU"/>
              <a:pPr>
                <a:defRPr/>
              </a:pPr>
              <a:t>11.12.2018</a:t>
            </a:fld>
            <a:endParaRPr lang="ru-RU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83AAAD08-CEBC-4EA4-971E-FB23F7810B14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  <p:sp>
        <p:nvSpPr>
          <p:cNvPr id="9" name="Rectangle 8"/>
          <p:cNvSpPr/>
          <p:nvPr/>
        </p:nvSpPr>
        <p:spPr>
          <a:xfrm>
            <a:off x="274320" y="278166"/>
            <a:ext cx="8595360" cy="1325880"/>
          </a:xfrm>
          <a:prstGeom prst="rect">
            <a:avLst/>
          </a:prstGeom>
          <a:solidFill>
            <a:srgbClr val="FFFFFF">
              <a:alpha val="83000"/>
            </a:srgbClr>
          </a:solidFill>
          <a:ln>
            <a:noFill/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/>
          </a:p>
        </p:txBody>
      </p:sp>
      <p:sp>
        <p:nvSpPr>
          <p:cNvPr id="10" name="Rectangle 9"/>
          <p:cNvSpPr/>
          <p:nvPr/>
        </p:nvSpPr>
        <p:spPr>
          <a:xfrm>
            <a:off x="373063" y="373063"/>
            <a:ext cx="8380412" cy="1117600"/>
          </a:xfrm>
          <a:prstGeom prst="rect">
            <a:avLst/>
          </a:prstGeom>
          <a:solidFill>
            <a:srgbClr val="FFFF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5450" y="407988"/>
            <a:ext cx="8261350" cy="10398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325" r:id="rId1"/>
    <p:sldLayoutId id="2147486320" r:id="rId2"/>
    <p:sldLayoutId id="2147486326" r:id="rId3"/>
    <p:sldLayoutId id="2147486321" r:id="rId4"/>
    <p:sldLayoutId id="2147486322" r:id="rId5"/>
    <p:sldLayoutId id="2147486323" r:id="rId6"/>
    <p:sldLayoutId id="2147486327" r:id="rId7"/>
    <p:sldLayoutId id="2147486328" r:id="rId8"/>
    <p:sldLayoutId id="2147486329" r:id="rId9"/>
    <p:sldLayoutId id="2147486324" r:id="rId10"/>
    <p:sldLayoutId id="2147486330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3500" kern="1200" cap="all">
          <a:solidFill>
            <a:srgbClr val="6B7D7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500">
          <a:solidFill>
            <a:srgbClr val="6B7D72"/>
          </a:solidFill>
          <a:latin typeface="Book Antiqua" pitchFamily="18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500">
          <a:solidFill>
            <a:srgbClr val="6B7D72"/>
          </a:solidFill>
          <a:latin typeface="Book Antiqua" pitchFamily="18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500">
          <a:solidFill>
            <a:srgbClr val="6B7D72"/>
          </a:solidFill>
          <a:latin typeface="Book Antiqua" pitchFamily="18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500">
          <a:solidFill>
            <a:srgbClr val="6B7D72"/>
          </a:solidFill>
          <a:latin typeface="Book Antiqua" pitchFamily="18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500">
          <a:solidFill>
            <a:srgbClr val="6B7D72"/>
          </a:solidFill>
          <a:latin typeface="Book Antiqua" pitchFamily="18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500">
          <a:solidFill>
            <a:srgbClr val="6B7D72"/>
          </a:solidFill>
          <a:latin typeface="Book Antiqua" pitchFamily="18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500">
          <a:solidFill>
            <a:srgbClr val="6B7D72"/>
          </a:solidFill>
          <a:latin typeface="Book Antiqua" pitchFamily="18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500">
          <a:solidFill>
            <a:srgbClr val="6B7D72"/>
          </a:solidFill>
          <a:latin typeface="Book Antiqua" pitchFamily="18" charset="0"/>
        </a:defRPr>
      </a:lvl9pPr>
    </p:titleStyle>
    <p:bodyStyle>
      <a:lvl1pPr marL="3429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639763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Arial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2pPr>
      <a:lvl3pPr marL="914400" indent="-228600" algn="l" rtl="0" eaLnBrk="0" fontAlgn="base" hangingPunct="0">
        <a:spcBef>
          <a:spcPct val="20000"/>
        </a:spcBef>
        <a:spcAft>
          <a:spcPct val="0"/>
        </a:spcAft>
        <a:buClr>
          <a:srgbClr val="B5AE53"/>
        </a:buClr>
        <a:buFont typeface="Arial" charset="0"/>
        <a:buChar char="•"/>
        <a:defRPr kern="1200">
          <a:solidFill>
            <a:schemeClr val="tx2"/>
          </a:solidFill>
          <a:latin typeface="+mn-lt"/>
          <a:ea typeface="+mn-ea"/>
          <a:cs typeface="+mn-cs"/>
        </a:defRPr>
      </a:lvl3pPr>
      <a:lvl4pPr marL="1279525" indent="-228600" algn="l" rtl="0" eaLnBrk="0" fontAlgn="base" hangingPunct="0">
        <a:spcBef>
          <a:spcPct val="20000"/>
        </a:spcBef>
        <a:spcAft>
          <a:spcPct val="0"/>
        </a:spcAft>
        <a:buClr>
          <a:srgbClr val="848058"/>
        </a:buClr>
        <a:buFont typeface="Arial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4pPr>
      <a:lvl5pPr marL="1554163" indent="-228600" algn="l" rtl="0" eaLnBrk="0" fontAlgn="base" hangingPunct="0">
        <a:spcBef>
          <a:spcPct val="20000"/>
        </a:spcBef>
        <a:spcAft>
          <a:spcPct val="0"/>
        </a:spcAft>
        <a:buClr>
          <a:srgbClr val="E8B54D"/>
        </a:buClr>
        <a:buFont typeface="Arial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2011680" indent="-182880" algn="l" defTabSz="914400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2194560" indent="-18288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2377440" indent="-182880" algn="l" defTabSz="914400" rtl="0" eaLnBrk="1" latinLnBrk="0" hangingPunct="1">
        <a:spcBef>
          <a:spcPct val="20000"/>
        </a:spcBef>
        <a:buClr>
          <a:schemeClr val="accent4"/>
        </a:buClr>
        <a:buFont typeface="Arial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 useBgFill="1">
        <p:nvSpPr>
          <p:cNvPr id="7" name="Rounded Rectangle 6"/>
          <p:cNvSpPr/>
          <p:nvPr/>
        </p:nvSpPr>
        <p:spPr>
          <a:xfrm>
            <a:off x="92075" y="101600"/>
            <a:ext cx="8959850" cy="6664325"/>
          </a:xfrm>
          <a:prstGeom prst="roundRect">
            <a:avLst>
              <a:gd name="adj" fmla="val 1735"/>
            </a:avLst>
          </a:prstGeom>
          <a:ln w="12700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05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752600"/>
            <a:ext cx="8229600" cy="4373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0627851E-E45F-4DFA-B6EC-393F5D1408AF}" type="datetimeFigureOut">
              <a:rPr lang="ru-RU"/>
              <a:pPr>
                <a:defRPr/>
              </a:pPr>
              <a:t>11.12.2018</a:t>
            </a:fld>
            <a:endParaRPr lang="ru-RU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F8591BD6-D9CE-4F69-AA4A-2A25FA136530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  <p:sp>
        <p:nvSpPr>
          <p:cNvPr id="9" name="Rectangle 8"/>
          <p:cNvSpPr/>
          <p:nvPr/>
        </p:nvSpPr>
        <p:spPr>
          <a:xfrm>
            <a:off x="274320" y="278166"/>
            <a:ext cx="8595360" cy="1325880"/>
          </a:xfrm>
          <a:prstGeom prst="rect">
            <a:avLst/>
          </a:prstGeom>
          <a:solidFill>
            <a:srgbClr val="FFFFFF">
              <a:alpha val="83000"/>
            </a:srgbClr>
          </a:solidFill>
          <a:ln>
            <a:noFill/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/>
          </a:p>
        </p:txBody>
      </p:sp>
      <p:sp>
        <p:nvSpPr>
          <p:cNvPr id="10" name="Rectangle 9"/>
          <p:cNvSpPr/>
          <p:nvPr/>
        </p:nvSpPr>
        <p:spPr>
          <a:xfrm>
            <a:off x="373063" y="373063"/>
            <a:ext cx="8380412" cy="1117600"/>
          </a:xfrm>
          <a:prstGeom prst="rect">
            <a:avLst/>
          </a:prstGeom>
          <a:solidFill>
            <a:srgbClr val="FFFF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5450" y="407988"/>
            <a:ext cx="8261350" cy="10398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331" r:id="rId1"/>
    <p:sldLayoutId id="2147486332" r:id="rId2"/>
    <p:sldLayoutId id="2147486333" r:id="rId3"/>
    <p:sldLayoutId id="2147486334" r:id="rId4"/>
    <p:sldLayoutId id="2147486335" r:id="rId5"/>
    <p:sldLayoutId id="2147486336" r:id="rId6"/>
    <p:sldLayoutId id="2147486337" r:id="rId7"/>
    <p:sldLayoutId id="2147486338" r:id="rId8"/>
    <p:sldLayoutId id="2147486339" r:id="rId9"/>
    <p:sldLayoutId id="2147486340" r:id="rId10"/>
    <p:sldLayoutId id="2147486341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3500" kern="1200" cap="all">
          <a:solidFill>
            <a:srgbClr val="6B7D7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500">
          <a:solidFill>
            <a:srgbClr val="6B7D72"/>
          </a:solidFill>
          <a:latin typeface="Book Antiqua" pitchFamily="18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500">
          <a:solidFill>
            <a:srgbClr val="6B7D72"/>
          </a:solidFill>
          <a:latin typeface="Book Antiqua" pitchFamily="18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500">
          <a:solidFill>
            <a:srgbClr val="6B7D72"/>
          </a:solidFill>
          <a:latin typeface="Book Antiqua" pitchFamily="18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500">
          <a:solidFill>
            <a:srgbClr val="6B7D72"/>
          </a:solidFill>
          <a:latin typeface="Book Antiqua" pitchFamily="18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500">
          <a:solidFill>
            <a:srgbClr val="6B7D72"/>
          </a:solidFill>
          <a:latin typeface="Book Antiqua" pitchFamily="18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500">
          <a:solidFill>
            <a:srgbClr val="6B7D72"/>
          </a:solidFill>
          <a:latin typeface="Book Antiqua" pitchFamily="18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500">
          <a:solidFill>
            <a:srgbClr val="6B7D72"/>
          </a:solidFill>
          <a:latin typeface="Book Antiqua" pitchFamily="18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500">
          <a:solidFill>
            <a:srgbClr val="6B7D72"/>
          </a:solidFill>
          <a:latin typeface="Book Antiqua" pitchFamily="18" charset="0"/>
        </a:defRPr>
      </a:lvl9pPr>
    </p:titleStyle>
    <p:bodyStyle>
      <a:lvl1pPr marL="3429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639763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Arial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2pPr>
      <a:lvl3pPr marL="914400" indent="-228600" algn="l" rtl="0" eaLnBrk="0" fontAlgn="base" hangingPunct="0">
        <a:spcBef>
          <a:spcPct val="20000"/>
        </a:spcBef>
        <a:spcAft>
          <a:spcPct val="0"/>
        </a:spcAft>
        <a:buClr>
          <a:srgbClr val="B5AE53"/>
        </a:buClr>
        <a:buFont typeface="Arial" charset="0"/>
        <a:buChar char="•"/>
        <a:defRPr kern="1200">
          <a:solidFill>
            <a:schemeClr val="tx2"/>
          </a:solidFill>
          <a:latin typeface="+mn-lt"/>
          <a:ea typeface="+mn-ea"/>
          <a:cs typeface="+mn-cs"/>
        </a:defRPr>
      </a:lvl3pPr>
      <a:lvl4pPr marL="1279525" indent="-228600" algn="l" rtl="0" eaLnBrk="0" fontAlgn="base" hangingPunct="0">
        <a:spcBef>
          <a:spcPct val="20000"/>
        </a:spcBef>
        <a:spcAft>
          <a:spcPct val="0"/>
        </a:spcAft>
        <a:buClr>
          <a:srgbClr val="848058"/>
        </a:buClr>
        <a:buFont typeface="Arial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4pPr>
      <a:lvl5pPr marL="1554163" indent="-228600" algn="l" rtl="0" eaLnBrk="0" fontAlgn="base" hangingPunct="0">
        <a:spcBef>
          <a:spcPct val="20000"/>
        </a:spcBef>
        <a:spcAft>
          <a:spcPct val="0"/>
        </a:spcAft>
        <a:buClr>
          <a:srgbClr val="E8B54D"/>
        </a:buClr>
        <a:buFont typeface="Arial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2011680" indent="-182880" algn="l" defTabSz="914400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2194560" indent="-18288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2377440" indent="-182880" algn="l" defTabSz="914400" rtl="0" eaLnBrk="1" latinLnBrk="0" hangingPunct="1">
        <a:spcBef>
          <a:spcPct val="20000"/>
        </a:spcBef>
        <a:buClr>
          <a:schemeClr val="accent4"/>
        </a:buClr>
        <a:buFont typeface="Arial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7813"/>
            <a:ext cx="8229600" cy="1139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smtClean="0"/>
              <a:t>Образец заголовка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3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smtClean="0"/>
              <a:t>Образец текста</a:t>
            </a:r>
          </a:p>
          <a:p>
            <a:pPr lvl="1"/>
            <a:r>
              <a:rPr lang="ru-RU" altLang="en-US" smtClean="0"/>
              <a:t>Второй уровень</a:t>
            </a:r>
          </a:p>
          <a:p>
            <a:pPr lvl="2"/>
            <a:r>
              <a:rPr lang="ru-RU" altLang="en-US" smtClean="0"/>
              <a:t>Третий уровень</a:t>
            </a:r>
          </a:p>
          <a:p>
            <a:pPr lvl="3"/>
            <a:r>
              <a:rPr lang="ru-RU" altLang="en-US" smtClean="0"/>
              <a:t>Четвертый уровень</a:t>
            </a:r>
          </a:p>
          <a:p>
            <a:pPr lvl="4"/>
            <a:r>
              <a:rPr lang="ru-RU" altLang="en-US" smtClean="0"/>
              <a:t>Пятый уровень</a:t>
            </a:r>
          </a:p>
        </p:txBody>
      </p:sp>
      <p:sp>
        <p:nvSpPr>
          <p:cNvPr id="65540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3638"/>
            <a:ext cx="2133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000000"/>
                </a:solidFill>
                <a:latin typeface="+mj-lt"/>
              </a:defRPr>
            </a:lvl1pPr>
          </a:lstStyle>
          <a:p>
            <a:pPr>
              <a:defRPr/>
            </a:pPr>
            <a:fld id="{D3FA2C83-5F8C-44E2-921E-5FADFABE5CBA}" type="datetimeFigureOut">
              <a:rPr lang="ru-RU"/>
              <a:pPr>
                <a:defRPr/>
              </a:pPr>
              <a:t>11.12.2018</a:t>
            </a:fld>
            <a:endParaRPr lang="ru-RU" altLang="en-US"/>
          </a:p>
        </p:txBody>
      </p:sp>
      <p:sp>
        <p:nvSpPr>
          <p:cNvPr id="6554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000000"/>
                </a:solidFill>
                <a:latin typeface="+mj-lt"/>
              </a:defRPr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6554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3638"/>
            <a:ext cx="2133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000000"/>
                </a:solidFill>
                <a:latin typeface="+mj-lt"/>
              </a:defRPr>
            </a:lvl1pPr>
          </a:lstStyle>
          <a:p>
            <a:pPr>
              <a:defRPr/>
            </a:pPr>
            <a:fld id="{D10D6E16-7D05-44F1-BC9C-BFA2C097C9FD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  <p:sp>
        <p:nvSpPr>
          <p:cNvPr id="2055" name="Freeform 7"/>
          <p:cNvSpPr>
            <a:spLocks noChangeArrowheads="1"/>
          </p:cNvSpPr>
          <p:nvPr/>
        </p:nvSpPr>
        <p:spPr bwMode="auto">
          <a:xfrm>
            <a:off x="381000" y="228600"/>
            <a:ext cx="8229600" cy="609600"/>
          </a:xfrm>
          <a:custGeom>
            <a:avLst/>
            <a:gdLst>
              <a:gd name="T0" fmla="*/ 0 w 1000"/>
              <a:gd name="T1" fmla="*/ 2147483647 h 1000"/>
              <a:gd name="T2" fmla="*/ 0 w 1000"/>
              <a:gd name="T3" fmla="*/ 0 h 1000"/>
              <a:gd name="T4" fmla="*/ 2147483647 w 1000"/>
              <a:gd name="T5" fmla="*/ 0 h 100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000" h="1000">
                <a:moveTo>
                  <a:pt x="0" y="1000"/>
                </a:moveTo>
                <a:lnTo>
                  <a:pt x="0" y="0"/>
                </a:lnTo>
                <a:lnTo>
                  <a:pt x="1000" y="0"/>
                </a:lnTo>
              </a:path>
            </a:pathLst>
          </a:custGeom>
          <a:noFill/>
          <a:ln w="19050" cap="flat" cmpd="sng">
            <a:solidFill>
              <a:schemeClr val="accent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ru-RU" smtClean="0">
              <a:solidFill>
                <a:srgbClr val="000000"/>
              </a:solidFill>
            </a:endParaRPr>
          </a:p>
        </p:txBody>
      </p:sp>
      <p:sp>
        <p:nvSpPr>
          <p:cNvPr id="2056" name="Line 8"/>
          <p:cNvSpPr>
            <a:spLocks noChangeShapeType="1"/>
          </p:cNvSpPr>
          <p:nvPr/>
        </p:nv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58282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43" r:id="rId1"/>
    <p:sldLayoutId id="2147486344" r:id="rId2"/>
    <p:sldLayoutId id="2147486345" r:id="rId3"/>
    <p:sldLayoutId id="2147486346" r:id="rId4"/>
    <p:sldLayoutId id="2147486347" r:id="rId5"/>
    <p:sldLayoutId id="2147486348" r:id="rId6"/>
    <p:sldLayoutId id="2147486349" r:id="rId7"/>
    <p:sldLayoutId id="2147486350" r:id="rId8"/>
    <p:sldLayoutId id="2147486351" r:id="rId9"/>
    <p:sldLayoutId id="2147486352" r:id="rId10"/>
    <p:sldLayoutId id="2147486353" r:id="rId11"/>
    <p:sldLayoutId id="2147486354" r:id="rId12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65000"/>
        <a:buFont typeface="Wingdings" pitchFamily="2" charset="2"/>
        <a:buChar char="n"/>
        <a:defRPr sz="3000">
          <a:solidFill>
            <a:schemeClr val="tx1"/>
          </a:solidFill>
          <a:latin typeface="+mn-lt"/>
          <a:ea typeface="+mn-ea"/>
          <a:cs typeface="+mn-cs"/>
        </a:defRPr>
      </a:lvl1pPr>
      <a:lvl2pPr marL="669925" indent="-325438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60000"/>
        <a:buFont typeface="Wingdings" pitchFamily="2" charset="2"/>
        <a:buChar char="q"/>
        <a:defRPr sz="2600">
          <a:solidFill>
            <a:schemeClr val="tx1"/>
          </a:solidFill>
          <a:latin typeface="+mn-lt"/>
        </a:defRPr>
      </a:lvl2pPr>
      <a:lvl3pPr marL="1022350" indent="-350838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65000"/>
        <a:buFont typeface="Wingdings" pitchFamily="2" charset="2"/>
        <a:buChar char="n"/>
        <a:defRPr sz="2200">
          <a:solidFill>
            <a:schemeClr val="tx1"/>
          </a:solidFill>
          <a:latin typeface="+mn-lt"/>
        </a:defRPr>
      </a:lvl3pPr>
      <a:lvl4pPr marL="1339850" indent="-315913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Wingdings" pitchFamily="2" charset="2"/>
        <a:buChar char="q"/>
        <a:defRPr sz="2000">
          <a:solidFill>
            <a:schemeClr val="tx1"/>
          </a:solidFill>
          <a:latin typeface="+mn-lt"/>
        </a:defRPr>
      </a:lvl4pPr>
      <a:lvl5pPr marL="1681163" indent="-339725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5pPr>
      <a:lvl6pPr marL="2138363" indent="-339725" algn="l" rtl="0" fontAlgn="base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6pPr>
      <a:lvl7pPr marL="2595563" indent="-339725" algn="l" rtl="0" fontAlgn="base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7pPr>
      <a:lvl8pPr marL="3052763" indent="-339725" algn="l" rtl="0" fontAlgn="base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8pPr>
      <a:lvl9pPr marL="3509963" indent="-339725" algn="l" rtl="0" fontAlgn="base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 useBgFill="1">
        <p:nvSpPr>
          <p:cNvPr id="7" name="Rounded Rectangle 6"/>
          <p:cNvSpPr/>
          <p:nvPr/>
        </p:nvSpPr>
        <p:spPr>
          <a:xfrm>
            <a:off x="92075" y="101600"/>
            <a:ext cx="8959850" cy="6664325"/>
          </a:xfrm>
          <a:prstGeom prst="roundRect">
            <a:avLst>
              <a:gd name="adj" fmla="val 1735"/>
            </a:avLst>
          </a:prstGeom>
          <a:ln w="12700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752600"/>
            <a:ext cx="8229600" cy="4373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ru-RU">
              <a:solidFill>
                <a:srgbClr val="42445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ru-RU">
              <a:solidFill>
                <a:srgbClr val="42445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EC099CD0-F0DC-4560-9822-CCD40559292E}" type="slidenum">
              <a:rPr lang="ru-RU">
                <a:solidFill>
                  <a:srgbClr val="424456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424456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74320" y="278166"/>
            <a:ext cx="8595360" cy="1325880"/>
          </a:xfrm>
          <a:prstGeom prst="rect">
            <a:avLst/>
          </a:prstGeom>
          <a:solidFill>
            <a:srgbClr val="FFFFFF">
              <a:alpha val="83000"/>
            </a:srgbClr>
          </a:solidFill>
          <a:ln>
            <a:noFill/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73063" y="373063"/>
            <a:ext cx="8380412" cy="1117600"/>
          </a:xfrm>
          <a:prstGeom prst="rect">
            <a:avLst/>
          </a:prstGeom>
          <a:solidFill>
            <a:srgbClr val="FFFF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5450" y="407988"/>
            <a:ext cx="8261350" cy="10398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78364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68" r:id="rId1"/>
    <p:sldLayoutId id="2147486369" r:id="rId2"/>
    <p:sldLayoutId id="2147486370" r:id="rId3"/>
    <p:sldLayoutId id="2147486371" r:id="rId4"/>
    <p:sldLayoutId id="2147486372" r:id="rId5"/>
    <p:sldLayoutId id="2147486373" r:id="rId6"/>
    <p:sldLayoutId id="2147486374" r:id="rId7"/>
    <p:sldLayoutId id="2147486375" r:id="rId8"/>
    <p:sldLayoutId id="2147486376" r:id="rId9"/>
    <p:sldLayoutId id="2147486377" r:id="rId10"/>
    <p:sldLayoutId id="2147486378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3500" kern="1200" cap="all">
          <a:solidFill>
            <a:srgbClr val="3E3F68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500">
          <a:solidFill>
            <a:srgbClr val="3E3F68"/>
          </a:solidFill>
          <a:latin typeface="Book Antiqua" pitchFamily="18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500">
          <a:solidFill>
            <a:srgbClr val="3E3F68"/>
          </a:solidFill>
          <a:latin typeface="Book Antiqua" pitchFamily="18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500">
          <a:solidFill>
            <a:srgbClr val="3E3F68"/>
          </a:solidFill>
          <a:latin typeface="Book Antiqua" pitchFamily="18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500">
          <a:solidFill>
            <a:srgbClr val="3E3F68"/>
          </a:solidFill>
          <a:latin typeface="Book Antiqua" pitchFamily="18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500">
          <a:solidFill>
            <a:srgbClr val="3E3F68"/>
          </a:solidFill>
          <a:latin typeface="Book Antiqua" pitchFamily="18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500">
          <a:solidFill>
            <a:srgbClr val="3E3F68"/>
          </a:solidFill>
          <a:latin typeface="Book Antiqua" pitchFamily="18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500">
          <a:solidFill>
            <a:srgbClr val="3E3F68"/>
          </a:solidFill>
          <a:latin typeface="Book Antiqua" pitchFamily="18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500">
          <a:solidFill>
            <a:srgbClr val="3E3F68"/>
          </a:solidFill>
          <a:latin typeface="Book Antiqua" pitchFamily="18" charset="0"/>
        </a:defRPr>
      </a:lvl9pPr>
    </p:titleStyle>
    <p:bodyStyle>
      <a:lvl1pPr marL="3429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639763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Arial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2pPr>
      <a:lvl3pPr marL="914400" indent="-228600" algn="l" rtl="0" eaLnBrk="0" fontAlgn="base" hangingPunct="0">
        <a:spcBef>
          <a:spcPct val="20000"/>
        </a:spcBef>
        <a:spcAft>
          <a:spcPct val="0"/>
        </a:spcAft>
        <a:buClr>
          <a:srgbClr val="A04DA3"/>
        </a:buClr>
        <a:buFont typeface="Arial" charset="0"/>
        <a:buChar char="•"/>
        <a:defRPr kern="1200">
          <a:solidFill>
            <a:schemeClr val="tx2"/>
          </a:solidFill>
          <a:latin typeface="+mn-lt"/>
          <a:ea typeface="+mn-ea"/>
          <a:cs typeface="+mn-cs"/>
        </a:defRPr>
      </a:lvl3pPr>
      <a:lvl4pPr marL="1279525" indent="-228600" algn="l" rtl="0" eaLnBrk="0" fontAlgn="base" hangingPunct="0">
        <a:spcBef>
          <a:spcPct val="20000"/>
        </a:spcBef>
        <a:spcAft>
          <a:spcPct val="0"/>
        </a:spcAft>
        <a:buClr>
          <a:srgbClr val="C4652D"/>
        </a:buClr>
        <a:buFont typeface="Arial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4pPr>
      <a:lvl5pPr marL="1554163" indent="-228600" algn="l" rtl="0" eaLnBrk="0" fontAlgn="base" hangingPunct="0">
        <a:spcBef>
          <a:spcPct val="20000"/>
        </a:spcBef>
        <a:spcAft>
          <a:spcPct val="0"/>
        </a:spcAft>
        <a:buClr>
          <a:srgbClr val="8B5D3D"/>
        </a:buClr>
        <a:buFont typeface="Arial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2011680" indent="-182880" algn="l" defTabSz="914400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2194560" indent="-18288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2377440" indent="-182880" algn="l" defTabSz="914400" rtl="0" eaLnBrk="1" latinLnBrk="0" hangingPunct="1">
        <a:spcBef>
          <a:spcPct val="20000"/>
        </a:spcBef>
        <a:buClr>
          <a:schemeClr val="accent4"/>
        </a:buClr>
        <a:buFont typeface="Arial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67" name="Group 343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-6479" y="-22677"/>
            <a:ext cx="9145619" cy="241343"/>
            <a:chOff x="-4" y="-14"/>
            <a:chExt cx="5646" cy="149"/>
          </a:xfrm>
        </p:grpSpPr>
        <p:sp>
          <p:nvSpPr>
            <p:cNvPr id="1222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23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24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25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26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27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28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2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29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30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31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5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32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33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34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35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8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36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1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37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38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2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39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40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41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2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42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7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43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44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7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45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46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47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7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48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49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7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50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51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52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53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54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55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8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56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57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8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58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59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60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8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61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62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63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3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64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3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65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7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66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67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68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6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69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3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70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8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71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72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73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74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75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76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2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77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78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8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79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80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8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81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82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83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8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84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85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86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87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7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88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2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89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90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8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91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92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4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93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94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7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95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2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96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97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98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99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9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00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2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01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7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02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03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2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04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05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06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7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07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3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08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2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09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10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11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12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13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14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6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15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16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17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18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19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20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21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40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22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23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8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24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25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2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26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27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9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28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29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30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31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32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33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4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34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35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36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37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38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39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40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41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42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43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44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45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46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47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48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49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50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51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52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7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53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54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55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6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56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57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8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58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6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59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60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61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62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2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63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64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65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66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</p:grpSp>
      <p:sp>
        <p:nvSpPr>
          <p:cNvPr id="1377" name="Freeform 353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6534436" y="-21057"/>
            <a:ext cx="2611183" cy="239723"/>
          </a:xfrm>
          <a:custGeom>
            <a:avLst/>
            <a:gdLst>
              <a:gd name="T0" fmla="*/ 0 w 1612"/>
              <a:gd name="T1" fmla="*/ 0 h 164"/>
              <a:gd name="T2" fmla="*/ 95 w 1612"/>
              <a:gd name="T3" fmla="*/ 164 h 164"/>
              <a:gd name="T4" fmla="*/ 1612 w 1612"/>
              <a:gd name="T5" fmla="*/ 164 h 164"/>
              <a:gd name="T6" fmla="*/ 1612 w 1612"/>
              <a:gd name="T7" fmla="*/ 0 h 164"/>
              <a:gd name="T8" fmla="*/ 0 w 1612"/>
              <a:gd name="T9" fmla="*/ 0 h 1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/>
          <a:lstStyle/>
          <a:p>
            <a:endParaRPr lang="ru-RU" sz="1200" smtClean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1220" name="AutoShape 196"/>
          <p:cNvSpPr>
            <a:spLocks noChangeAspect="1" noChangeArrowheads="1" noTextEdit="1"/>
          </p:cNvSpPr>
          <p:nvPr>
            <p:custDataLst>
              <p:tags r:id="rId18"/>
            </p:custDataLst>
          </p:nvPr>
        </p:nvSpPr>
        <p:spPr bwMode="auto">
          <a:xfrm>
            <a:off x="-6479" y="-27536"/>
            <a:ext cx="9174776" cy="259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96" tIns="46648" rIns="93296" bIns="46648"/>
          <a:lstStyle/>
          <a:p>
            <a:endParaRPr lang="ru-RU" sz="1200" smtClean="0">
              <a:solidFill>
                <a:srgbClr val="000000"/>
              </a:solidFill>
              <a:latin typeface="Arial" pitchFamily="34" charset="0"/>
            </a:endParaRPr>
          </a:p>
        </p:txBody>
      </p:sp>
      <p:grpSp>
        <p:nvGrpSpPr>
          <p:cNvPr id="1379" name="Group 355"/>
          <p:cNvGrpSpPr>
            <a:grpSpLocks/>
          </p:cNvGrpSpPr>
          <p:nvPr>
            <p:custDataLst>
              <p:tags r:id="rId19"/>
            </p:custDataLst>
          </p:nvPr>
        </p:nvGrpSpPr>
        <p:grpSpPr bwMode="auto">
          <a:xfrm>
            <a:off x="4860" y="6616658"/>
            <a:ext cx="9140759" cy="264018"/>
            <a:chOff x="3" y="4085"/>
            <a:chExt cx="5643" cy="163"/>
          </a:xfrm>
        </p:grpSpPr>
        <p:sp>
          <p:nvSpPr>
            <p:cNvPr id="1060" name="Rectangle 36"/>
            <p:cNvSpPr>
              <a:spLocks noChangeArrowheads="1"/>
            </p:cNvSpPr>
            <p:nvPr userDrawn="1">
              <p:custDataLst>
                <p:tags r:id="rId27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78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64 h 164"/>
                <a:gd name="T4" fmla="*/ 1612 w 1612"/>
                <a:gd name="T5" fmla="*/ 164 h 164"/>
                <a:gd name="T6" fmla="*/ 1612 w 1612"/>
                <a:gd name="T7" fmla="*/ 0 h 164"/>
                <a:gd name="T8" fmla="*/ 0 w 1612"/>
                <a:gd name="T9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</p:grpSp>
      <p:sp>
        <p:nvSpPr>
          <p:cNvPr id="1030" name="pg num"/>
          <p:cNvSpPr>
            <a:spLocks noGrp="1" noChangeArrowheads="1"/>
          </p:cNvSpPr>
          <p:nvPr>
            <p:ph type="sldNum" sz="quarter" idx="4"/>
            <p:custDataLst>
              <p:tags r:id="rId20"/>
            </p:custDataLst>
          </p:nvPr>
        </p:nvSpPr>
        <p:spPr bwMode="auto">
          <a:xfrm>
            <a:off x="7010670" y="6660392"/>
            <a:ext cx="190493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defTabSz="913526">
              <a:defRPr b="1">
                <a:solidFill>
                  <a:schemeClr val="bg2"/>
                </a:solidFill>
              </a:defRPr>
            </a:lvl1pPr>
          </a:lstStyle>
          <a:p>
            <a:fld id="{B66E1AFB-39CA-49A1-9C90-087FAE4B0F98}" type="slidenum">
              <a:rPr lang="en-US" sz="1200" smtClean="0">
                <a:solidFill>
                  <a:srgbClr val="FFFFFF"/>
                </a:solidFill>
                <a:latin typeface="Arial" pitchFamily="34" charset="0"/>
              </a:rPr>
              <a:pPr/>
              <a:t>‹#›</a:t>
            </a:fld>
            <a:endParaRPr lang="en-US" sz="1200" smtClean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  <p:custDataLst>
              <p:tags r:id="rId21"/>
            </p:custDataLst>
          </p:nvPr>
        </p:nvSpPr>
        <p:spPr bwMode="auto">
          <a:xfrm>
            <a:off x="121489" y="234864"/>
            <a:ext cx="8794113" cy="2947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22"/>
            </p:custDataLst>
          </p:nvPr>
        </p:nvSpPr>
        <p:spPr bwMode="auto">
          <a:xfrm>
            <a:off x="124729" y="1299036"/>
            <a:ext cx="8794113" cy="12472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grpSp>
        <p:nvGrpSpPr>
          <p:cNvPr id="1488" name="McK Slide Elements"/>
          <p:cNvGrpSpPr>
            <a:grpSpLocks/>
          </p:cNvGrpSpPr>
          <p:nvPr/>
        </p:nvGrpSpPr>
        <p:grpSpPr bwMode="auto">
          <a:xfrm>
            <a:off x="124729" y="542615"/>
            <a:ext cx="8794113" cy="6287850"/>
            <a:chOff x="77" y="335"/>
            <a:chExt cx="5429" cy="3882"/>
          </a:xfrm>
        </p:grpSpPr>
        <p:sp>
          <p:nvSpPr>
            <p:cNvPr id="1032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89535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447675" defTabSz="89535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895350" defTabSz="89535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344613" defTabSz="89535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r>
                <a:rPr lang="en-US" sz="1600" smtClean="0">
                  <a:solidFill>
                    <a:srgbClr val="000000"/>
                  </a:solidFill>
                  <a:latin typeface="Arial" pitchFamily="34" charset="0"/>
                </a:rPr>
                <a:t>Unit of measure</a:t>
              </a:r>
            </a:p>
          </p:txBody>
        </p:sp>
        <p:sp>
          <p:nvSpPr>
            <p:cNvPr id="1033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4"/>
              <a:ext cx="5145" cy="2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806450" indent="-806450" defTabSz="895350">
                <a:tabLst>
                  <a:tab pos="717550" algn="r"/>
                </a:tabLs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1079500" defTabSz="895350">
                <a:tabLst>
                  <a:tab pos="717550" algn="r"/>
                </a:tabLs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258888" defTabSz="895350">
                <a:tabLst>
                  <a:tab pos="717550" algn="r"/>
                </a:tabLs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438275" defTabSz="895350">
                <a:tabLst>
                  <a:tab pos="717550" algn="r"/>
                </a:tabLs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1792288" defTabSz="895350">
                <a:tabLst>
                  <a:tab pos="717550" algn="r"/>
                </a:tabLs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717550" algn="r"/>
                </a:tabLs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717550" algn="r"/>
                </a:tabLs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717550" algn="r"/>
                </a:tabLs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717550" algn="r"/>
                </a:tabLs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r>
                <a:rPr lang="ru-RU" sz="1200" smtClean="0">
                  <a:solidFill>
                    <a:srgbClr val="000000"/>
                  </a:solidFill>
                  <a:latin typeface="Arial" pitchFamily="34" charset="0"/>
                </a:rPr>
                <a:t>	</a:t>
              </a:r>
              <a:r>
                <a:rPr lang="en-US" sz="1200" smtClean="0">
                  <a:solidFill>
                    <a:srgbClr val="000000"/>
                  </a:solidFill>
                  <a:latin typeface="Arial" pitchFamily="34" charset="0"/>
                </a:rPr>
                <a:t>*</a:t>
              </a:r>
              <a:r>
                <a:rPr lang="ru-RU" sz="1200" smtClean="0">
                  <a:solidFill>
                    <a:srgbClr val="000000"/>
                  </a:solidFill>
                  <a:latin typeface="Arial" pitchFamily="34" charset="0"/>
                </a:rPr>
                <a:t>	Сноска</a:t>
              </a:r>
              <a:endParaRPr lang="en-US" sz="1200" smtClean="0">
                <a:solidFill>
                  <a:srgbClr val="000000"/>
                </a:solidFill>
                <a:latin typeface="Arial" pitchFamily="34" charset="0"/>
              </a:endParaRPr>
            </a:p>
            <a:p>
              <a:pPr>
                <a:spcBef>
                  <a:spcPct val="20000"/>
                </a:spcBef>
              </a:pPr>
              <a:r>
                <a:rPr lang="ru-RU" sz="1200" smtClean="0">
                  <a:solidFill>
                    <a:srgbClr val="000000"/>
                  </a:solidFill>
                  <a:latin typeface="Arial" pitchFamily="34" charset="0"/>
                </a:rPr>
                <a:t>	Источник</a:t>
              </a:r>
              <a:r>
                <a:rPr lang="en-US" sz="1200" smtClean="0">
                  <a:solidFill>
                    <a:srgbClr val="000000"/>
                  </a:solidFill>
                  <a:latin typeface="Arial" pitchFamily="34" charset="0"/>
                </a:rPr>
                <a:t>:</a:t>
              </a:r>
              <a:r>
                <a:rPr lang="ru-RU" sz="1200" smtClean="0">
                  <a:solidFill>
                    <a:srgbClr val="000000"/>
                  </a:solidFill>
                  <a:latin typeface="Arial" pitchFamily="34" charset="0"/>
                </a:rPr>
                <a:t>	Источник</a:t>
              </a:r>
              <a:endParaRPr lang="en-US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</p:grpSp>
      <p:sp>
        <p:nvSpPr>
          <p:cNvPr id="1052" name="Working Draft" hidden="1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 rot="5400000">
            <a:off x="8198875" y="2765712"/>
            <a:ext cx="1747704" cy="93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600" smtClean="0">
                <a:solidFill>
                  <a:srgbClr val="000000"/>
                </a:solidFill>
                <a:latin typeface="Arial" pitchFamily="34" charset="0"/>
              </a:rPr>
              <a:t>Working Draft - Last Modified 09/06/2006 21:40:09</a:t>
            </a:r>
          </a:p>
        </p:txBody>
      </p:sp>
      <p:sp>
        <p:nvSpPr>
          <p:cNvPr id="1053" name="Printed" hidden="1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 rot="5400000">
            <a:off x="8579515" y="4302850"/>
            <a:ext cx="986424" cy="93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600" smtClean="0">
                <a:solidFill>
                  <a:srgbClr val="000000"/>
                </a:solidFill>
                <a:latin typeface="Arial" pitchFamily="34" charset="0"/>
              </a:rPr>
              <a:t>Printed 08/06/2006 17:52:59</a:t>
            </a:r>
          </a:p>
        </p:txBody>
      </p:sp>
      <p:sp>
        <p:nvSpPr>
          <p:cNvPr id="1029" name="doc id"/>
          <p:cNvSpPr>
            <a:spLocks noGrp="1" noChangeArrowheads="1"/>
          </p:cNvSpPr>
          <p:nvPr>
            <p:ph type="ftr" sz="quarter" idx="3"/>
            <p:custDataLst>
              <p:tags r:id="rId25"/>
            </p:custDataLst>
          </p:nvPr>
        </p:nvSpPr>
        <p:spPr bwMode="auto">
          <a:xfrm>
            <a:off x="150646" y="37255"/>
            <a:ext cx="182556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defTabSz="913526">
              <a:defRPr sz="800" b="1">
                <a:solidFill>
                  <a:schemeClr val="bg2"/>
                </a:solidFill>
              </a:defRPr>
            </a:lvl1pPr>
          </a:lstStyle>
          <a:p>
            <a:r>
              <a:rPr lang="ru-RU" smtClean="0">
                <a:solidFill>
                  <a:srgbClr val="FFFFFF"/>
                </a:solidFill>
                <a:latin typeface="Arial" pitchFamily="34" charset="0"/>
              </a:rPr>
              <a:t>MOS-ROS005-200600608-SS1wm-r_c</a:t>
            </a:r>
          </a:p>
        </p:txBody>
      </p:sp>
      <p:graphicFrame>
        <p:nvGraphicFramePr>
          <p:cNvPr id="1062" name="Rectangle 38" hidden="1"/>
          <p:cNvGraphicFramePr>
            <a:graphicFrameLocks/>
          </p:cNvGraphicFramePr>
          <p:nvPr>
            <p:custDataLst>
              <p:tags r:id="rId26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13" r:id="rId28" imgW="0" imgH="0" progId="TCLayout.ActiveDocument">
                  <p:embed/>
                </p:oleObj>
              </mc:Choice>
              <mc:Fallback>
                <p:oleObj r:id="rId28" imgW="0" imgH="0" progId="TCLayout.ActiveDocument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2568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80" r:id="rId1"/>
    <p:sldLayoutId id="2147486381" r:id="rId2"/>
    <p:sldLayoutId id="2147486382" r:id="rId3"/>
    <p:sldLayoutId id="2147486383" r:id="rId4"/>
    <p:sldLayoutId id="2147486384" r:id="rId5"/>
    <p:sldLayoutId id="2147486385" r:id="rId6"/>
    <p:sldLayoutId id="2147486386" r:id="rId7"/>
    <p:sldLayoutId id="2147486387" r:id="rId8"/>
    <p:sldLayoutId id="2147486388" r:id="rId9"/>
    <p:sldLayoutId id="2147486389" r:id="rId10"/>
    <p:sldLayoutId id="2147486390" r:id="rId11"/>
    <p:sldLayoutId id="2147486391" r:id="rId12"/>
    <p:sldLayoutId id="2147486392" r:id="rId13"/>
  </p:sldLayoutIdLst>
  <p:hf hdr="0" dt="0"/>
  <p:txStyles>
    <p:titleStyle>
      <a:lvl1pPr algn="l" defTabSz="91352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2pPr>
      <a:lvl3pPr algn="l" defTabSz="91352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3pPr>
      <a:lvl4pPr algn="l" defTabSz="91352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4pPr>
      <a:lvl5pPr algn="l" defTabSz="91352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5pPr>
      <a:lvl6pPr marL="466481" algn="l" defTabSz="91352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6pPr>
      <a:lvl7pPr marL="932962" algn="l" defTabSz="91352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7pPr>
      <a:lvl8pPr marL="1399443" algn="l" defTabSz="91352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8pPr>
      <a:lvl9pPr marL="1865925" algn="l" defTabSz="91352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9pPr>
    </p:titleStyle>
    <p:bodyStyle>
      <a:lvl1pPr algn="l" defTabSz="913526" rtl="0" fontAlgn="base">
        <a:spcBef>
          <a:spcPct val="0"/>
        </a:spcBef>
        <a:spcAft>
          <a:spcPct val="0"/>
        </a:spcAft>
        <a:buSzPct val="120000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47396" indent="-145775" algn="l" defTabSz="913526" rtl="0" fontAlgn="base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</a:defRPr>
      </a:lvl2pPr>
      <a:lvl3pPr marL="301269" indent="-152254" algn="l" defTabSz="913526" rtl="0" fontAlgn="base">
        <a:spcBef>
          <a:spcPct val="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3pPr>
      <a:lvl4pPr marL="440566" indent="-137677" algn="l" defTabSz="913526" rtl="0" fontAlgn="base">
        <a:spcBef>
          <a:spcPct val="0"/>
        </a:spcBef>
        <a:spcAft>
          <a:spcPct val="0"/>
        </a:spcAft>
        <a:buSzPct val="89000"/>
        <a:buChar char="•"/>
        <a:defRPr sz="1600">
          <a:solidFill>
            <a:schemeClr val="tx1"/>
          </a:solidFill>
          <a:latin typeface="+mn-lt"/>
        </a:defRPr>
      </a:lvl4pPr>
      <a:lvl5pPr marL="594440" indent="-152254" algn="l" defTabSz="913526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5pPr>
      <a:lvl6pPr marL="1060921" indent="-152254" algn="l" defTabSz="913526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6pPr>
      <a:lvl7pPr marL="1527402" indent="-152254" algn="l" defTabSz="913526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7pPr>
      <a:lvl8pPr marL="1993884" indent="-152254" algn="l" defTabSz="913526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8pPr>
      <a:lvl9pPr marL="2460365" indent="-152254" algn="l" defTabSz="913526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9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3.em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Excel_97-20031.xls"/><Relationship Id="rId2" Type="http://schemas.openxmlformats.org/officeDocument/2006/relationships/slideLayout" Target="../slideLayouts/slideLayout38.xml"/><Relationship Id="rId1" Type="http://schemas.openxmlformats.org/officeDocument/2006/relationships/vmlDrawing" Target="../drawings/vmlDrawing4.vml"/><Relationship Id="rId4" Type="http://schemas.openxmlformats.org/officeDocument/2006/relationships/image" Target="../media/image4.em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2"/>
          <p:cNvSpPr>
            <a:spLocks noGrp="1" noChangeArrowheads="1"/>
          </p:cNvSpPr>
          <p:nvPr>
            <p:ph type="title"/>
          </p:nvPr>
        </p:nvSpPr>
        <p:spPr>
          <a:xfrm>
            <a:off x="323850" y="260350"/>
            <a:ext cx="8420100" cy="6192838"/>
          </a:xfrm>
        </p:spPr>
        <p:txBody>
          <a:bodyPr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b="1" i="1" dirty="0" smtClean="0">
                <a:solidFill>
                  <a:srgbClr val="333399"/>
                </a:solidFill>
              </a:rPr>
              <a:t/>
            </a:r>
            <a:br>
              <a:rPr lang="ru-RU" b="1" i="1" dirty="0" smtClean="0">
                <a:solidFill>
                  <a:srgbClr val="333399"/>
                </a:solidFill>
              </a:rPr>
            </a:br>
            <a:r>
              <a:rPr lang="ru-RU" sz="5300" b="1" i="1" dirty="0" smtClean="0">
                <a:solidFill>
                  <a:srgbClr val="333399"/>
                </a:solidFill>
              </a:rPr>
              <a:t> </a:t>
            </a:r>
            <a:r>
              <a:rPr lang="ru-RU" sz="6000" b="1" dirty="0" smtClean="0">
                <a:solidFill>
                  <a:srgbClr val="002060"/>
                </a:solidFill>
              </a:rPr>
              <a:t>Проект бюджета </a:t>
            </a:r>
            <a:r>
              <a:rPr lang="ru-RU" sz="6000" b="1" dirty="0" err="1" smtClean="0">
                <a:solidFill>
                  <a:srgbClr val="002060"/>
                </a:solidFill>
              </a:rPr>
              <a:t>Шелеховского</a:t>
            </a:r>
            <a:r>
              <a:rPr lang="ru-RU" sz="6000" b="1" dirty="0" smtClean="0">
                <a:solidFill>
                  <a:srgbClr val="002060"/>
                </a:solidFill>
              </a:rPr>
              <a:t> района НА  201</a:t>
            </a:r>
            <a:r>
              <a:rPr lang="ru-RU" sz="6000" b="1" dirty="0">
                <a:solidFill>
                  <a:srgbClr val="002060"/>
                </a:solidFill>
              </a:rPr>
              <a:t>9</a:t>
            </a:r>
            <a:r>
              <a:rPr lang="ru-RU" sz="6000" b="1" dirty="0" smtClean="0">
                <a:solidFill>
                  <a:srgbClr val="002060"/>
                </a:solidFill>
                <a:latin typeface="Arial" charset="0"/>
              </a:rPr>
              <a:t> </a:t>
            </a:r>
            <a:r>
              <a:rPr lang="ru-RU" sz="6000" b="1" dirty="0" smtClean="0">
                <a:solidFill>
                  <a:srgbClr val="002060"/>
                </a:solidFill>
              </a:rPr>
              <a:t>год</a:t>
            </a:r>
            <a:r>
              <a:rPr lang="en-US" sz="6000" b="1" dirty="0" smtClean="0">
                <a:solidFill>
                  <a:srgbClr val="002060"/>
                </a:solidFill>
              </a:rPr>
              <a:t> </a:t>
            </a:r>
            <a:r>
              <a:rPr lang="ru-RU" sz="6000" b="1" dirty="0" smtClean="0">
                <a:solidFill>
                  <a:srgbClr val="002060"/>
                </a:solidFill>
              </a:rPr>
              <a:t>и  на плановый период 2020 и 2021 годов</a:t>
            </a:r>
            <a:r>
              <a:rPr lang="ru-RU" sz="6000" b="1" i="1" dirty="0" smtClean="0">
                <a:solidFill>
                  <a:srgbClr val="002060"/>
                </a:solidFill>
              </a:rPr>
              <a:t> </a:t>
            </a:r>
            <a:r>
              <a:rPr lang="ru-RU" sz="5300" b="1" i="1" dirty="0" smtClean="0">
                <a:solidFill>
                  <a:srgbClr val="333399"/>
                </a:solidFill>
              </a:rPr>
              <a:t/>
            </a:r>
            <a:br>
              <a:rPr lang="ru-RU" sz="5300" b="1" i="1" dirty="0" smtClean="0">
                <a:solidFill>
                  <a:srgbClr val="333399"/>
                </a:solidFill>
              </a:rPr>
            </a:br>
            <a:r>
              <a:rPr lang="ru-RU" sz="6000" b="1" i="1" dirty="0" smtClean="0">
                <a:solidFill>
                  <a:srgbClr val="E2A7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Monotype Corsiva" pitchFamily="66" charset="0"/>
              </a:rPr>
              <a:t/>
            </a:r>
            <a:br>
              <a:rPr lang="ru-RU" sz="6000" b="1" i="1" dirty="0" smtClean="0">
                <a:solidFill>
                  <a:srgbClr val="E2A7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Monotype Corsiva" pitchFamily="66" charset="0"/>
              </a:rPr>
            </a:br>
            <a:endParaRPr lang="en-US" sz="6000" b="1" i="1" dirty="0" smtClean="0">
              <a:solidFill>
                <a:srgbClr val="E2A700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Monotype Corsiva" pitchFamily="66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5450" y="407988"/>
            <a:ext cx="8261350" cy="500732"/>
          </a:xfrm>
        </p:spPr>
        <p:txBody>
          <a:bodyPr>
            <a:normAutofit/>
          </a:bodyPr>
          <a:lstStyle/>
          <a:p>
            <a:r>
              <a:rPr lang="ru-RU" sz="1800" b="1" dirty="0" smtClean="0">
                <a:solidFill>
                  <a:srgbClr val="002060"/>
                </a:solidFill>
              </a:rPr>
              <a:t>Структура расходов в 2018 году</a:t>
            </a:r>
            <a:endParaRPr lang="ru-RU" sz="1800" b="1" dirty="0">
              <a:solidFill>
                <a:srgbClr val="002060"/>
              </a:solidFill>
            </a:endParaRP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10677364"/>
              </p:ext>
            </p:extLst>
          </p:nvPr>
        </p:nvGraphicFramePr>
        <p:xfrm>
          <a:off x="395536" y="1628800"/>
          <a:ext cx="8229600" cy="43735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3023411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5450" y="407988"/>
            <a:ext cx="8261350" cy="788764"/>
          </a:xfrm>
        </p:spPr>
        <p:txBody>
          <a:bodyPr>
            <a:normAutofit/>
          </a:bodyPr>
          <a:lstStyle/>
          <a:p>
            <a:r>
              <a:rPr lang="ru-RU" sz="1800" b="1" dirty="0" smtClean="0"/>
              <a:t>Запланировано на реализацию приоритетных мероприятий на 2019-2021 годы </a:t>
            </a:r>
            <a:endParaRPr lang="ru-RU" sz="1800" b="1" dirty="0"/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20597167"/>
              </p:ext>
            </p:extLst>
          </p:nvPr>
        </p:nvGraphicFramePr>
        <p:xfrm>
          <a:off x="467544" y="1412776"/>
          <a:ext cx="8229600" cy="457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20680"/>
                <a:gridCol w="2108920"/>
              </a:tblGrid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Наименование</a:t>
                      </a:r>
                      <a:r>
                        <a:rPr lang="ru-RU" baseline="0" dirty="0" smtClean="0"/>
                        <a:t> мероприятия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Объем запланированных средств, </a:t>
                      </a:r>
                      <a:r>
                        <a:rPr lang="ru-RU" dirty="0" err="1" smtClean="0"/>
                        <a:t>тыс.руб</a:t>
                      </a:r>
                      <a:r>
                        <a:rPr lang="ru-RU" dirty="0" smtClean="0"/>
                        <a:t>.</a:t>
                      </a:r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Выполнение проектно – изыскательских работ</a:t>
                      </a:r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19 -3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765,8</a:t>
                      </a:r>
                      <a:endParaRPr lang="ru-RU" b="1" dirty="0" smtClean="0">
                        <a:solidFill>
                          <a:srgbClr val="7030A0"/>
                        </a:solidFill>
                      </a:endParaRPr>
                    </a:p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20-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10 604,0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Проведение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ремонтов в пищеблоках образовательных организаций</a:t>
                      </a:r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19-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2 085,3</a:t>
                      </a:r>
                    </a:p>
                    <a:p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2020-798,1</a:t>
                      </a:r>
                    </a:p>
                    <a:p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2021 – 538,5</a:t>
                      </a:r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Оснащение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пищеблоков необходимым оборудованием</a:t>
                      </a:r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19-1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358,3</a:t>
                      </a:r>
                      <a:endParaRPr lang="ru-RU" b="1" dirty="0" smtClean="0">
                        <a:solidFill>
                          <a:srgbClr val="7030A0"/>
                        </a:solidFill>
                      </a:endParaRPr>
                    </a:p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20-1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286,1</a:t>
                      </a:r>
                      <a:endParaRPr lang="ru-RU" b="1" dirty="0" smtClean="0">
                        <a:solidFill>
                          <a:srgbClr val="7030A0"/>
                        </a:solidFill>
                      </a:endParaRPr>
                    </a:p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21-919,2</a:t>
                      </a:r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Организация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перевозки обучающихся школьными автобусами, в </a:t>
                      </a:r>
                      <a:r>
                        <a:rPr lang="ru-RU" b="1" baseline="0" dirty="0" err="1" smtClean="0">
                          <a:solidFill>
                            <a:srgbClr val="7030A0"/>
                          </a:solidFill>
                        </a:rPr>
                        <a:t>т.ч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. приобретение школьных автобусов</a:t>
                      </a:r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19- 1 223,9</a:t>
                      </a:r>
                    </a:p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20 -781,2</a:t>
                      </a:r>
                    </a:p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21 -1 761,2</a:t>
                      </a:r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622219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1800" b="1" dirty="0"/>
              <a:t>Запланировано на реализацию приоритетных мероприятий на 2019-2021 годы </a:t>
            </a: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55000915"/>
              </p:ext>
            </p:extLst>
          </p:nvPr>
        </p:nvGraphicFramePr>
        <p:xfrm>
          <a:off x="467544" y="1412776"/>
          <a:ext cx="8229600" cy="5222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264696"/>
                <a:gridCol w="1964904"/>
              </a:tblGrid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Наименование</a:t>
                      </a:r>
                      <a:r>
                        <a:rPr lang="ru-RU" baseline="0" dirty="0" smtClean="0"/>
                        <a:t> мероприятия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Объем запланированных средств, </a:t>
                      </a:r>
                      <a:r>
                        <a:rPr lang="ru-RU" dirty="0" err="1" smtClean="0"/>
                        <a:t>тыс.руб</a:t>
                      </a:r>
                      <a:r>
                        <a:rPr lang="ru-RU" dirty="0" smtClean="0"/>
                        <a:t>.</a:t>
                      </a:r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Проведение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ремонтных работ в зданиях образовательных организаций и учреждений, подведомственных отделу культуры, подготовку ПСД</a:t>
                      </a:r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19-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18 245,1</a:t>
                      </a:r>
                      <a:endParaRPr lang="ru-RU" b="1" dirty="0" smtClean="0">
                        <a:solidFill>
                          <a:srgbClr val="7030A0"/>
                        </a:solidFill>
                      </a:endParaRPr>
                    </a:p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20-13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 045,7</a:t>
                      </a:r>
                      <a:endParaRPr lang="ru-RU" b="1" dirty="0" smtClean="0">
                        <a:solidFill>
                          <a:srgbClr val="7030A0"/>
                        </a:solidFill>
                      </a:endParaRPr>
                    </a:p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21-15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313,5</a:t>
                      </a:r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Капитальный ремонт ДЮСШ «Юность»</a:t>
                      </a:r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19-5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830,0</a:t>
                      </a:r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Обеспечение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пожарной безопасности образовательных организаций и учреждений, подведомственных отделу культуры </a:t>
                      </a:r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19-2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755,2</a:t>
                      </a:r>
                      <a:endParaRPr lang="ru-RU" b="1" dirty="0" smtClean="0">
                        <a:solidFill>
                          <a:srgbClr val="7030A0"/>
                        </a:solidFill>
                      </a:endParaRPr>
                    </a:p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20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– 2 711,2</a:t>
                      </a:r>
                      <a:endParaRPr lang="ru-RU" b="1" dirty="0" smtClean="0">
                        <a:solidFill>
                          <a:srgbClr val="7030A0"/>
                        </a:solidFill>
                      </a:endParaRPr>
                    </a:p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21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-2 444,1</a:t>
                      </a:r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Проведение летней оздоровительной кампании (обеспечение летнего отдыха в стационарных лагерях, лагерях с дневным пребыванием)</a:t>
                      </a:r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19-2 047,7</a:t>
                      </a:r>
                    </a:p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20 – 2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047,7</a:t>
                      </a:r>
                      <a:endParaRPr lang="ru-RU" b="1" dirty="0" smtClean="0">
                        <a:solidFill>
                          <a:srgbClr val="7030A0"/>
                        </a:solidFill>
                      </a:endParaRPr>
                    </a:p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21 -2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047,7</a:t>
                      </a:r>
                      <a:endParaRPr lang="ru-RU" b="1" dirty="0" smtClean="0">
                        <a:solidFill>
                          <a:srgbClr val="7030A0"/>
                        </a:solidFill>
                      </a:endParaRPr>
                    </a:p>
                    <a:p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578230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1600" b="1" dirty="0"/>
              <a:t>Запланировано на реализацию приоритетных мероприятий на 2019-2021 годы </a:t>
            </a: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95017242"/>
              </p:ext>
            </p:extLst>
          </p:nvPr>
        </p:nvGraphicFramePr>
        <p:xfrm>
          <a:off x="467544" y="1326976"/>
          <a:ext cx="8229600" cy="44840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91064"/>
                <a:gridCol w="1738536"/>
              </a:tblGrid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Наименование</a:t>
                      </a:r>
                      <a:r>
                        <a:rPr lang="ru-RU" baseline="0" dirty="0" smtClean="0"/>
                        <a:t> мероприятия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Объем запланированных средств, </a:t>
                      </a:r>
                      <a:r>
                        <a:rPr lang="ru-RU" dirty="0" err="1" smtClean="0"/>
                        <a:t>тыс.руб</a:t>
                      </a:r>
                      <a:r>
                        <a:rPr lang="ru-RU" dirty="0" smtClean="0"/>
                        <a:t>.</a:t>
                      </a:r>
                      <a:endParaRPr lang="ru-RU" dirty="0"/>
                    </a:p>
                  </a:txBody>
                  <a:tcPr/>
                </a:tc>
              </a:tr>
              <a:tr h="1359064"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Приобретение книжного фонда,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предметов музейного фонда и оборудования</a:t>
                      </a:r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19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– 409,0</a:t>
                      </a:r>
                      <a:endParaRPr lang="ru-RU" b="1" dirty="0" smtClean="0">
                        <a:solidFill>
                          <a:srgbClr val="7030A0"/>
                        </a:solidFill>
                      </a:endParaRPr>
                    </a:p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20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– 559,0</a:t>
                      </a:r>
                    </a:p>
                    <a:p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2021 – 569,0</a:t>
                      </a:r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1296144"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Проведение мероприятий в зданиях муниципальных учреждений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, способствующих энергосбережению</a:t>
                      </a:r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19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– 619,1</a:t>
                      </a:r>
                    </a:p>
                    <a:p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2020 – 50,0</a:t>
                      </a:r>
                    </a:p>
                    <a:p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2021 – 50,0</a:t>
                      </a:r>
                      <a:endParaRPr lang="ru-RU" b="1" dirty="0" smtClean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279960">
                <a:tc>
                  <a:txBody>
                    <a:bodyPr/>
                    <a:lstStyle/>
                    <a:p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332829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1600" b="1" dirty="0"/>
              <a:t>Запланировано на реализацию приоритетных мероприятий на 2019-2021 годы </a:t>
            </a: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13507425"/>
              </p:ext>
            </p:extLst>
          </p:nvPr>
        </p:nvGraphicFramePr>
        <p:xfrm>
          <a:off x="467544" y="1326976"/>
          <a:ext cx="8229600" cy="49080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91064"/>
                <a:gridCol w="1738536"/>
              </a:tblGrid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Наименование</a:t>
                      </a:r>
                      <a:r>
                        <a:rPr lang="ru-RU" baseline="0" dirty="0" smtClean="0"/>
                        <a:t> мероприятия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Объем запланированных средств, </a:t>
                      </a:r>
                      <a:r>
                        <a:rPr lang="ru-RU" dirty="0" err="1" smtClean="0"/>
                        <a:t>тыс.руб</a:t>
                      </a:r>
                      <a:r>
                        <a:rPr lang="ru-RU" dirty="0" smtClean="0"/>
                        <a:t>.</a:t>
                      </a:r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Обеспечение детей в возрасте от 6 мес. до 1,5 лет специальными молочными продуктами (семьи с доходом ниже прожит. минимума)</a:t>
                      </a:r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19 –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2 000,0</a:t>
                      </a:r>
                      <a:endParaRPr lang="ru-RU" b="1" dirty="0" smtClean="0">
                        <a:solidFill>
                          <a:srgbClr val="7030A0"/>
                        </a:solidFill>
                      </a:endParaRPr>
                    </a:p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20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– 2 000,0</a:t>
                      </a:r>
                    </a:p>
                    <a:p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2021 – 2 000,0</a:t>
                      </a:r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Повышение уровня доступности для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маломобильных групп населения</a:t>
                      </a:r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19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– 63,0</a:t>
                      </a:r>
                    </a:p>
                    <a:p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2020-  14,2</a:t>
                      </a: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610384"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Предоставление единовременных выплат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врачебным кадрам, прибывшим для работы в ОГБУЗ «</a:t>
                      </a:r>
                      <a:r>
                        <a:rPr lang="ru-RU" b="1" baseline="0" dirty="0" err="1" smtClean="0">
                          <a:solidFill>
                            <a:srgbClr val="7030A0"/>
                          </a:solidFill>
                        </a:rPr>
                        <a:t>Шелеховская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РБ»</a:t>
                      </a:r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19-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150,0</a:t>
                      </a:r>
                    </a:p>
                    <a:p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2020-225,0</a:t>
                      </a:r>
                    </a:p>
                    <a:p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2021-300,0</a:t>
                      </a:r>
                      <a:endParaRPr lang="ru-RU" b="1" dirty="0" smtClean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610384">
                <a:tc>
                  <a:txBody>
                    <a:bodyPr/>
                    <a:lstStyle/>
                    <a:p>
                      <a:endParaRPr lang="ru-RU" b="1" dirty="0" smtClean="0">
                        <a:solidFill>
                          <a:srgbClr val="7030A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/>
                </a:tc>
              </a:tr>
              <a:tr h="279960">
                <a:tc>
                  <a:txBody>
                    <a:bodyPr/>
                    <a:lstStyle/>
                    <a:p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2418477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1600" b="1" dirty="0"/>
              <a:t>Запланировано на реализацию приоритетных мероприятий на 2019-2021 годы </a:t>
            </a: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12155132"/>
              </p:ext>
            </p:extLst>
          </p:nvPr>
        </p:nvGraphicFramePr>
        <p:xfrm>
          <a:off x="467544" y="1326976"/>
          <a:ext cx="8229600" cy="5029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264696"/>
                <a:gridCol w="1964904"/>
              </a:tblGrid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Наименование</a:t>
                      </a:r>
                      <a:r>
                        <a:rPr lang="ru-RU" baseline="0" dirty="0" smtClean="0"/>
                        <a:t> мероприятия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Объем запланированных средств, </a:t>
                      </a:r>
                      <a:r>
                        <a:rPr lang="ru-RU" dirty="0" err="1" smtClean="0"/>
                        <a:t>тыс.руб</a:t>
                      </a:r>
                      <a:r>
                        <a:rPr lang="ru-RU" dirty="0" smtClean="0"/>
                        <a:t>.</a:t>
                      </a:r>
                      <a:endParaRPr lang="ru-RU" dirty="0"/>
                    </a:p>
                  </a:txBody>
                  <a:tcPr/>
                </a:tc>
              </a:tr>
              <a:tr h="1575088"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Подготовка объектов коммунальной инфраструктуры к отопительному сезону (ремонт водовода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</a:t>
                      </a:r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 </a:t>
                      </a:r>
                      <a:r>
                        <a:rPr lang="ru-RU" b="1" dirty="0" err="1" smtClean="0">
                          <a:solidFill>
                            <a:srgbClr val="7030A0"/>
                          </a:solidFill>
                        </a:rPr>
                        <a:t>Шелехов</a:t>
                      </a:r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 – Чистые Ключи, приобретение котельно – вспомогательного оборудования, подготовка объектов инженерной инфраструктуры к работе в зимних условиях) </a:t>
                      </a:r>
                    </a:p>
                    <a:p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19 – 16 552,6</a:t>
                      </a:r>
                    </a:p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20 – 15 655,0</a:t>
                      </a:r>
                    </a:p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21 – 13 235,0</a:t>
                      </a:r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Организация сбора,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транспортирования и утилизации ТКО</a:t>
                      </a:r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19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– 8 250,0</a:t>
                      </a:r>
                    </a:p>
                    <a:p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2020 – 200,0</a:t>
                      </a:r>
                    </a:p>
                    <a:p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2021 - 200,0</a:t>
                      </a:r>
                      <a:endParaRPr lang="ru-RU" b="1" dirty="0" smtClean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610384"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Содержание автомобильных дорог общего пользования местного значения</a:t>
                      </a:r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19-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1 496,1</a:t>
                      </a:r>
                    </a:p>
                    <a:p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2020 -  1 886,1</a:t>
                      </a:r>
                    </a:p>
                    <a:p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2021 – 2 024,0</a:t>
                      </a:r>
                      <a:endParaRPr lang="ru-RU" b="1" dirty="0" smtClean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486588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7010670" y="6660392"/>
            <a:ext cx="1904932" cy="492443"/>
          </a:xfrm>
        </p:spPr>
        <p:txBody>
          <a:bodyPr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2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  <p:sp>
        <p:nvSpPr>
          <p:cNvPr id="1525815" name="Rectangle 55"/>
          <p:cNvSpPr>
            <a:spLocks noGrp="1" noChangeArrowheads="1"/>
          </p:cNvSpPr>
          <p:nvPr>
            <p:ph type="title"/>
          </p:nvPr>
        </p:nvSpPr>
        <p:spPr>
          <a:xfrm>
            <a:off x="179512" y="260648"/>
            <a:ext cx="8794113" cy="553998"/>
          </a:xfrm>
        </p:spPr>
        <p:txBody>
          <a:bodyPr/>
          <a:lstStyle/>
          <a:p>
            <a:pPr algn="ctr"/>
            <a:r>
              <a:rPr lang="ru-RU" sz="1800" dirty="0" smtClean="0"/>
              <a:t>Межбюджетные трансферты бюджетам поселений </a:t>
            </a:r>
            <a:r>
              <a:rPr lang="ru-RU" sz="1800" dirty="0" err="1" smtClean="0"/>
              <a:t>Шелеховского</a:t>
            </a:r>
            <a:r>
              <a:rPr lang="ru-RU" sz="1800" dirty="0" smtClean="0"/>
              <a:t> района  </a:t>
            </a:r>
            <a:r>
              <a:rPr lang="ru-RU" sz="1800" dirty="0"/>
              <a:t>в </a:t>
            </a:r>
            <a:r>
              <a:rPr lang="ru-RU" sz="1800" dirty="0" smtClean="0"/>
              <a:t>2018-2021г.г.(тыс. рублей)</a:t>
            </a:r>
            <a:endParaRPr lang="ru-RU" sz="1800" dirty="0"/>
          </a:p>
        </p:txBody>
      </p:sp>
      <p:graphicFrame>
        <p:nvGraphicFramePr>
          <p:cNvPr id="1525877" name="Group 11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87912303"/>
              </p:ext>
            </p:extLst>
          </p:nvPr>
        </p:nvGraphicFramePr>
        <p:xfrm>
          <a:off x="153887" y="1772571"/>
          <a:ext cx="8738593" cy="4987009"/>
        </p:xfrm>
        <a:graphic>
          <a:graphicData uri="http://schemas.openxmlformats.org/drawingml/2006/table">
            <a:tbl>
              <a:tblPr/>
              <a:tblGrid>
                <a:gridCol w="3049961"/>
                <a:gridCol w="1152128"/>
                <a:gridCol w="1152128"/>
                <a:gridCol w="1080120"/>
                <a:gridCol w="936104"/>
                <a:gridCol w="1368152"/>
              </a:tblGrid>
              <a:tr h="64831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imes New Roman" pitchFamily="18" charset="0"/>
                          <a:cs typeface="+mn-cs"/>
                        </a:rPr>
                        <a:t>Наименование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imes New Roman" pitchFamily="18" charset="0"/>
                        </a:rPr>
                        <a:t>2018 год (первонач.)</a:t>
                      </a:r>
                    </a:p>
                  </a:txBody>
                  <a:tcPr marL="93303" marR="93303" marT="46649" marB="46649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imes New Roman" pitchFamily="18" charset="0"/>
                        </a:rPr>
                        <a:t>2018 (план на 01.12.2018)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93303" marR="93303" marT="46649" marB="46649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imes New Roman" pitchFamily="18" charset="0"/>
                        </a:rPr>
                        <a:t>2019</a:t>
                      </a:r>
                    </a:p>
                  </a:txBody>
                  <a:tcPr marL="93303" marR="93303" marT="46649" marB="46649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imes New Roman" pitchFamily="18" charset="0"/>
                        </a:rPr>
                        <a:t>2020</a:t>
                      </a:r>
                    </a:p>
                  </a:txBody>
                  <a:tcPr marL="93303" marR="93303" marT="46649" marB="46649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imes New Roman" pitchFamily="18" charset="0"/>
                        </a:rPr>
                        <a:t>2021</a:t>
                      </a:r>
                    </a:p>
                  </a:txBody>
                  <a:tcPr marL="93303" marR="93303" marT="46649" marB="46649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</a:tr>
              <a:tr h="57501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тация на выравнивание уровня бюджетной обеспеченности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93303" marR="93303" marT="46649" marB="46649" anchor="b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imes New Roman" pitchFamily="18" charset="0"/>
                        </a:rPr>
                        <a:t>34 692,7</a:t>
                      </a:r>
                    </a:p>
                  </a:txBody>
                  <a:tcPr marL="93303" marR="93303" marT="46649" marB="46649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imes New Roman" pitchFamily="18" charset="0"/>
                        </a:rPr>
                        <a:t>46 696,3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93303" marR="93303" marT="46649" marB="46649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imes New Roman" pitchFamily="18" charset="0"/>
                        </a:rPr>
                        <a:t>34 692,7</a:t>
                      </a:r>
                    </a:p>
                  </a:txBody>
                  <a:tcPr marL="93303" marR="93303" marT="46649" marB="46649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imes New Roman" pitchFamily="18" charset="0"/>
                        </a:rPr>
                        <a:t>34 692,7</a:t>
                      </a:r>
                    </a:p>
                  </a:txBody>
                  <a:tcPr marL="93303" marR="93303" marT="46649" marB="46649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imes New Roman" pitchFamily="18" charset="0"/>
                        </a:rPr>
                        <a:t>34 692,7</a:t>
                      </a:r>
                    </a:p>
                  </a:txBody>
                  <a:tcPr marL="93303" marR="93303" marT="46649" marB="46649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9253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тация на поддержку мер по обеспечению сбалансированности бюджетов поселений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93303" marR="93303" marT="46649" marB="46649" anchor="b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imes New Roman" pitchFamily="18" charset="0"/>
                        </a:rPr>
                        <a:t>16 340,7</a:t>
                      </a:r>
                    </a:p>
                  </a:txBody>
                  <a:tcPr marL="93303" marR="93303" marT="46649" marB="46649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imes New Roman" pitchFamily="18" charset="0"/>
                        </a:rPr>
                        <a:t>16 340,7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93303" marR="93303" marT="46649" marB="46649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imes New Roman" pitchFamily="18" charset="0"/>
                        </a:rPr>
                        <a:t>16 363,3</a:t>
                      </a:r>
                    </a:p>
                  </a:txBody>
                  <a:tcPr marL="93303" marR="93303" marT="46649" marB="46649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imes New Roman" pitchFamily="18" charset="0"/>
                        </a:rPr>
                        <a:t>15 368,7</a:t>
                      </a:r>
                    </a:p>
                  </a:txBody>
                  <a:tcPr marL="93303" marR="93303" marT="46649" marB="4664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imes New Roman" pitchFamily="18" charset="0"/>
                        </a:rPr>
                        <a:t>15 287,2</a:t>
                      </a:r>
                    </a:p>
                  </a:txBody>
                  <a:tcPr marL="93303" marR="93303" marT="46649" marB="4664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893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СЕГО МБТ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93303" marR="93303" marT="46649" marB="46649" anchor="b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imes New Roman" pitchFamily="18" charset="0"/>
                        </a:rPr>
                        <a:t>51 033,4</a:t>
                      </a:r>
                    </a:p>
                  </a:txBody>
                  <a:tcPr marL="93303" marR="93303" marT="46649" marB="46649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imes New Roman" pitchFamily="18" charset="0"/>
                        </a:rPr>
                        <a:t>63 037,0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93303" marR="93303" marT="46649" marB="46649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imes New Roman" pitchFamily="18" charset="0"/>
                        </a:rPr>
                        <a:t>51 056,0</a:t>
                      </a:r>
                    </a:p>
                  </a:txBody>
                  <a:tcPr marL="93303" marR="93303" marT="46649" marB="46649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imes New Roman" pitchFamily="18" charset="0"/>
                        </a:rPr>
                        <a:t>50 061,4</a:t>
                      </a:r>
                    </a:p>
                  </a:txBody>
                  <a:tcPr marL="93303" marR="93303" marT="46649" marB="46649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imes New Roman" pitchFamily="18" charset="0"/>
                        </a:rPr>
                        <a:t>49 979,9</a:t>
                      </a:r>
                    </a:p>
                  </a:txBody>
                  <a:tcPr marL="93303" marR="93303" marT="46649" marB="46649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29883">
                <a:tc gridSpan="6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030A0"/>
                          </a:solidFill>
                          <a:effectLst/>
                          <a:latin typeface="Times New Roman" pitchFamily="18" charset="0"/>
                        </a:rPr>
                        <a:t>Объем средств, запланированный на 2019 год находится в пределах первоначальных параметров на 2018 год</a:t>
                      </a:r>
                    </a:p>
                  </a:txBody>
                  <a:tcPr marL="93303" marR="93303" marT="46649" marB="46649" anchor="b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93303" marR="93303" marT="46649" marB="46649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93303" marR="93303" marT="46649" marB="46649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93303" marR="93303" marT="46649" marB="46649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93303" marR="93303" marT="46649" marB="46649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73330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11560" y="407988"/>
            <a:ext cx="8075240" cy="860772"/>
          </a:xfrm>
        </p:spPr>
        <p:txBody>
          <a:bodyPr>
            <a:normAutofit/>
          </a:bodyPr>
          <a:lstStyle/>
          <a:p>
            <a:r>
              <a:rPr lang="ru-RU" sz="1800" b="1" dirty="0" smtClean="0">
                <a:solidFill>
                  <a:srgbClr val="0000FF"/>
                </a:solidFill>
              </a:rPr>
              <a:t>Основные параметры бюджета на </a:t>
            </a:r>
            <a:r>
              <a:rPr lang="ru-RU" sz="1800" b="1" dirty="0" smtClean="0">
                <a:solidFill>
                  <a:srgbClr val="0000FF"/>
                </a:solidFill>
              </a:rPr>
              <a:t>2019 </a:t>
            </a:r>
            <a:r>
              <a:rPr lang="ru-RU" sz="1800" b="1" dirty="0" smtClean="0">
                <a:solidFill>
                  <a:srgbClr val="0000FF"/>
                </a:solidFill>
              </a:rPr>
              <a:t>год и на плановый период </a:t>
            </a:r>
            <a:r>
              <a:rPr lang="ru-RU" sz="1800" b="1" dirty="0" smtClean="0">
                <a:solidFill>
                  <a:srgbClr val="0000FF"/>
                </a:solidFill>
              </a:rPr>
              <a:t>2020 </a:t>
            </a:r>
            <a:r>
              <a:rPr lang="ru-RU" sz="1800" b="1" dirty="0" smtClean="0">
                <a:solidFill>
                  <a:srgbClr val="0000FF"/>
                </a:solidFill>
              </a:rPr>
              <a:t>и </a:t>
            </a:r>
            <a:r>
              <a:rPr lang="ru-RU" sz="1800" b="1" dirty="0" smtClean="0">
                <a:solidFill>
                  <a:srgbClr val="0000FF"/>
                </a:solidFill>
              </a:rPr>
              <a:t>2021 </a:t>
            </a:r>
            <a:r>
              <a:rPr lang="ru-RU" sz="1800" b="1" dirty="0" smtClean="0">
                <a:solidFill>
                  <a:srgbClr val="0000FF"/>
                </a:solidFill>
              </a:rPr>
              <a:t>годов, тыс. руб.</a:t>
            </a:r>
            <a:endParaRPr lang="ru-RU" sz="1800" b="1" dirty="0">
              <a:solidFill>
                <a:srgbClr val="0000FF"/>
              </a:solidFill>
            </a:endParaRP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98791783"/>
              </p:ext>
            </p:extLst>
          </p:nvPr>
        </p:nvGraphicFramePr>
        <p:xfrm>
          <a:off x="457200" y="1340768"/>
          <a:ext cx="8229600" cy="4354695"/>
        </p:xfrm>
        <a:graphic>
          <a:graphicData uri="http://schemas.openxmlformats.org/drawingml/2006/table">
            <a:tbl>
              <a:tblPr firstRow="1" bandRow="1">
                <a:tableStyleId>{8A107856-5554-42FB-B03E-39F5DBC370BA}</a:tableStyleId>
              </a:tblPr>
              <a:tblGrid>
                <a:gridCol w="2170584"/>
                <a:gridCol w="1944216"/>
                <a:gridCol w="2057400"/>
                <a:gridCol w="2057400"/>
              </a:tblGrid>
              <a:tr h="1144135">
                <a:tc>
                  <a:txBody>
                    <a:bodyPr/>
                    <a:lstStyle/>
                    <a:p>
                      <a:r>
                        <a:rPr lang="ru-RU" dirty="0" smtClean="0">
                          <a:solidFill>
                            <a:srgbClr val="0000FF"/>
                          </a:solidFill>
                        </a:rPr>
                        <a:t>Основные параметры</a:t>
                      </a:r>
                      <a:endParaRPr lang="ru-RU" dirty="0">
                        <a:solidFill>
                          <a:srgbClr val="0000FF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solidFill>
                            <a:srgbClr val="0000FF"/>
                          </a:solidFill>
                        </a:rPr>
                        <a:t>2019</a:t>
                      </a:r>
                      <a:r>
                        <a:rPr lang="ru-RU" baseline="0" dirty="0" smtClean="0">
                          <a:solidFill>
                            <a:srgbClr val="0000FF"/>
                          </a:solidFill>
                        </a:rPr>
                        <a:t> </a:t>
                      </a:r>
                      <a:r>
                        <a:rPr lang="ru-RU" dirty="0" smtClean="0">
                          <a:solidFill>
                            <a:srgbClr val="0000FF"/>
                          </a:solidFill>
                        </a:rPr>
                        <a:t>год</a:t>
                      </a:r>
                      <a:endParaRPr lang="ru-RU" dirty="0">
                        <a:solidFill>
                          <a:srgbClr val="0000FF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solidFill>
                            <a:srgbClr val="0000FF"/>
                          </a:solidFill>
                        </a:rPr>
                        <a:t>2020 </a:t>
                      </a:r>
                      <a:r>
                        <a:rPr lang="ru-RU" dirty="0" smtClean="0">
                          <a:solidFill>
                            <a:srgbClr val="0000FF"/>
                          </a:solidFill>
                        </a:rPr>
                        <a:t>год</a:t>
                      </a:r>
                      <a:endParaRPr lang="ru-RU" dirty="0">
                        <a:solidFill>
                          <a:srgbClr val="0000FF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solidFill>
                            <a:srgbClr val="0000FF"/>
                          </a:solidFill>
                        </a:rPr>
                        <a:t>2021 </a:t>
                      </a:r>
                      <a:r>
                        <a:rPr lang="ru-RU" dirty="0" smtClean="0">
                          <a:solidFill>
                            <a:srgbClr val="0000FF"/>
                          </a:solidFill>
                        </a:rPr>
                        <a:t>год</a:t>
                      </a:r>
                      <a:endParaRPr lang="ru-RU" dirty="0">
                        <a:solidFill>
                          <a:srgbClr val="0000FF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0000FF"/>
                          </a:solidFill>
                        </a:rPr>
                        <a:t>Доходы</a:t>
                      </a:r>
                      <a:endParaRPr lang="ru-RU" b="1" dirty="0">
                        <a:solidFill>
                          <a:srgbClr val="0000FF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0000FF"/>
                          </a:solidFill>
                        </a:rPr>
                        <a:t>1 </a:t>
                      </a:r>
                      <a:r>
                        <a:rPr lang="ru-RU" b="1" dirty="0" smtClean="0">
                          <a:solidFill>
                            <a:srgbClr val="0000FF"/>
                          </a:solidFill>
                        </a:rPr>
                        <a:t>401</a:t>
                      </a:r>
                      <a:r>
                        <a:rPr lang="ru-RU" b="1" baseline="0" dirty="0" smtClean="0">
                          <a:solidFill>
                            <a:srgbClr val="0000FF"/>
                          </a:solidFill>
                        </a:rPr>
                        <a:t> 059,5</a:t>
                      </a:r>
                      <a:endParaRPr lang="ru-RU" b="1" dirty="0">
                        <a:solidFill>
                          <a:srgbClr val="0000FF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0000FF"/>
                          </a:solidFill>
                        </a:rPr>
                        <a:t>1 </a:t>
                      </a:r>
                      <a:r>
                        <a:rPr lang="ru-RU" b="1" dirty="0" smtClean="0">
                          <a:solidFill>
                            <a:srgbClr val="0000FF"/>
                          </a:solidFill>
                        </a:rPr>
                        <a:t>389</a:t>
                      </a:r>
                      <a:r>
                        <a:rPr lang="ru-RU" b="1" baseline="0" dirty="0" smtClean="0">
                          <a:solidFill>
                            <a:srgbClr val="0000FF"/>
                          </a:solidFill>
                        </a:rPr>
                        <a:t> 886,6</a:t>
                      </a:r>
                      <a:endParaRPr lang="ru-RU" b="1" dirty="0">
                        <a:solidFill>
                          <a:srgbClr val="0000FF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0000FF"/>
                          </a:solidFill>
                        </a:rPr>
                        <a:t>1 388 155,5</a:t>
                      </a:r>
                      <a:endParaRPr lang="ru-RU" b="1" dirty="0">
                        <a:solidFill>
                          <a:srgbClr val="0000FF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0000FF"/>
                          </a:solidFill>
                        </a:rPr>
                        <a:t>Расходы,</a:t>
                      </a:r>
                    </a:p>
                    <a:p>
                      <a:r>
                        <a:rPr lang="ru-RU" b="1" dirty="0" smtClean="0">
                          <a:solidFill>
                            <a:srgbClr val="0000FF"/>
                          </a:solidFill>
                        </a:rPr>
                        <a:t>в том</a:t>
                      </a:r>
                      <a:r>
                        <a:rPr lang="ru-RU" b="1" baseline="0" dirty="0" smtClean="0">
                          <a:solidFill>
                            <a:srgbClr val="0000FF"/>
                          </a:solidFill>
                        </a:rPr>
                        <a:t> числе:</a:t>
                      </a:r>
                      <a:endParaRPr lang="ru-RU" b="1" dirty="0">
                        <a:solidFill>
                          <a:srgbClr val="0000FF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0000FF"/>
                          </a:solidFill>
                        </a:rPr>
                        <a:t>1 </a:t>
                      </a:r>
                      <a:r>
                        <a:rPr lang="ru-RU" b="1" dirty="0" smtClean="0">
                          <a:solidFill>
                            <a:srgbClr val="0000FF"/>
                          </a:solidFill>
                        </a:rPr>
                        <a:t>437</a:t>
                      </a:r>
                      <a:r>
                        <a:rPr lang="ru-RU" b="1" baseline="0" dirty="0" smtClean="0">
                          <a:solidFill>
                            <a:srgbClr val="0000FF"/>
                          </a:solidFill>
                        </a:rPr>
                        <a:t> 660,0</a:t>
                      </a:r>
                      <a:endParaRPr lang="ru-RU" b="1" dirty="0">
                        <a:solidFill>
                          <a:srgbClr val="0000FF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0000FF"/>
                          </a:solidFill>
                        </a:rPr>
                        <a:t>1 429 118,3</a:t>
                      </a:r>
                      <a:endParaRPr lang="ru-RU" b="1" dirty="0">
                        <a:solidFill>
                          <a:srgbClr val="0000FF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0000FF"/>
                          </a:solidFill>
                        </a:rPr>
                        <a:t>1 414 278,9</a:t>
                      </a:r>
                      <a:endParaRPr lang="ru-RU" b="1" dirty="0">
                        <a:solidFill>
                          <a:srgbClr val="0000FF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0000FF"/>
                          </a:solidFill>
                        </a:rPr>
                        <a:t>Условно утвержденные</a:t>
                      </a:r>
                      <a:endParaRPr lang="ru-RU" b="1" dirty="0">
                        <a:solidFill>
                          <a:srgbClr val="0000FF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b="1" dirty="0">
                        <a:solidFill>
                          <a:srgbClr val="0000FF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0000FF"/>
                          </a:solidFill>
                        </a:rPr>
                        <a:t>15 747,2</a:t>
                      </a:r>
                      <a:endParaRPr lang="ru-RU" b="1" dirty="0">
                        <a:solidFill>
                          <a:srgbClr val="0000FF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0000FF"/>
                          </a:solidFill>
                        </a:rPr>
                        <a:t>31 416,2</a:t>
                      </a:r>
                      <a:endParaRPr lang="ru-RU" b="1" dirty="0">
                        <a:solidFill>
                          <a:srgbClr val="0000FF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0000FF"/>
                          </a:solidFill>
                        </a:rPr>
                        <a:t>Дефицит</a:t>
                      </a:r>
                      <a:endParaRPr lang="ru-RU" b="1" dirty="0">
                        <a:solidFill>
                          <a:srgbClr val="0000FF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0000FF"/>
                          </a:solidFill>
                        </a:rPr>
                        <a:t>36 600,5</a:t>
                      </a:r>
                      <a:endParaRPr lang="ru-RU" b="1" dirty="0">
                        <a:solidFill>
                          <a:srgbClr val="0000FF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0000FF"/>
                          </a:solidFill>
                        </a:rPr>
                        <a:t>39 231,7</a:t>
                      </a:r>
                      <a:endParaRPr lang="ru-RU" b="1" dirty="0">
                        <a:solidFill>
                          <a:srgbClr val="0000FF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0000FF"/>
                          </a:solidFill>
                        </a:rPr>
                        <a:t>26 123,4</a:t>
                      </a:r>
                      <a:endParaRPr lang="ru-RU" b="1" dirty="0">
                        <a:solidFill>
                          <a:srgbClr val="0000FF"/>
                        </a:solidFill>
                      </a:endParaRPr>
                    </a:p>
                  </a:txBody>
                  <a:tcPr/>
                </a:tc>
              </a:tr>
              <a:tr h="578441"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0000FF"/>
                          </a:solidFill>
                        </a:rPr>
                        <a:t>Процент дефицита к доходам без учета БП</a:t>
                      </a:r>
                      <a:endParaRPr lang="ru-RU" b="1" dirty="0">
                        <a:solidFill>
                          <a:srgbClr val="0000FF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0000FF"/>
                          </a:solidFill>
                        </a:rPr>
                        <a:t>6,9 </a:t>
                      </a:r>
                      <a:r>
                        <a:rPr lang="ru-RU" b="1" dirty="0" smtClean="0">
                          <a:solidFill>
                            <a:srgbClr val="0000FF"/>
                          </a:solidFill>
                        </a:rPr>
                        <a:t>%</a:t>
                      </a:r>
                      <a:endParaRPr lang="ru-RU" b="1" dirty="0">
                        <a:solidFill>
                          <a:srgbClr val="0000FF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0000FF"/>
                          </a:solidFill>
                        </a:rPr>
                        <a:t>7,1%</a:t>
                      </a:r>
                      <a:endParaRPr lang="ru-RU" b="1" dirty="0">
                        <a:solidFill>
                          <a:srgbClr val="0000FF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0000FF"/>
                          </a:solidFill>
                        </a:rPr>
                        <a:t>4,7%</a:t>
                      </a:r>
                      <a:endParaRPr lang="ru-RU" b="1" dirty="0">
                        <a:solidFill>
                          <a:srgbClr val="0000FF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678476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000" b="1" dirty="0" smtClean="0">
                <a:solidFill>
                  <a:srgbClr val="FF0000"/>
                </a:solidFill>
              </a:rPr>
              <a:t>Уровень муниципального долга</a:t>
            </a:r>
            <a:endParaRPr lang="ru-RU" sz="2000" b="1" dirty="0">
              <a:solidFill>
                <a:srgbClr val="FF0000"/>
              </a:solidFill>
            </a:endParaRP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12974301"/>
              </p:ext>
            </p:extLst>
          </p:nvPr>
        </p:nvGraphicFramePr>
        <p:xfrm>
          <a:off x="611560" y="1700808"/>
          <a:ext cx="8229600" cy="43735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04397045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5" name="Rectangle 3"/>
          <p:cNvSpPr>
            <a:spLocks noGrp="1"/>
          </p:cNvSpPr>
          <p:nvPr>
            <p:ph type="body" idx="4294967295"/>
          </p:nvPr>
        </p:nvSpPr>
        <p:spPr>
          <a:xfrm>
            <a:off x="1652588" y="1524000"/>
            <a:ext cx="7491412" cy="4714875"/>
          </a:xfrm>
        </p:spPr>
        <p:txBody>
          <a:bodyPr rtlCol="0">
            <a:normAutofit/>
          </a:bodyPr>
          <a:lstStyle/>
          <a:p>
            <a:pPr algn="ctr" eaLnBrk="1" fontAlgn="auto" hangingPunct="1">
              <a:spcAft>
                <a:spcPts val="0"/>
              </a:spcAft>
              <a:buFont typeface="Wingdings" pitchFamily="2" charset="2"/>
              <a:buNone/>
              <a:defRPr/>
            </a:pPr>
            <a:endParaRPr lang="ru-RU" dirty="0" smtClean="0"/>
          </a:p>
          <a:p>
            <a:pPr algn="ctr" eaLnBrk="1" fontAlgn="auto" hangingPunct="1">
              <a:spcAft>
                <a:spcPts val="0"/>
              </a:spcAft>
              <a:buFont typeface="Wingdings" pitchFamily="2" charset="2"/>
              <a:buNone/>
              <a:defRPr/>
            </a:pPr>
            <a:endParaRPr lang="ru-RU" sz="2000" i="1" dirty="0" smtClean="0">
              <a:solidFill>
                <a:srgbClr val="FF9900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  <a:p>
            <a:pPr algn="ctr" eaLnBrk="1" fontAlgn="auto" hangingPunct="1">
              <a:spcAft>
                <a:spcPts val="0"/>
              </a:spcAft>
              <a:buFont typeface="Wingdings" pitchFamily="2" charset="2"/>
              <a:buNone/>
              <a:defRPr/>
            </a:pPr>
            <a:r>
              <a:rPr lang="ru-RU" sz="6600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Monotype Corsiva" pitchFamily="66" charset="0"/>
              </a:rPr>
              <a:t>Спасибо за внимание !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Номер слайда 3"/>
          <p:cNvSpPr>
            <a:spLocks noGrp="1"/>
          </p:cNvSpPr>
          <p:nvPr>
            <p:ph type="sldNum" sz="quarter" idx="12"/>
          </p:nvPr>
        </p:nvSpPr>
        <p:spPr bwMode="auto">
          <a:xfrm>
            <a:off x="8604250" y="6453188"/>
            <a:ext cx="539750" cy="40481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•"/>
              <a:defRPr sz="2400">
                <a:solidFill>
                  <a:schemeClr val="tx2"/>
                </a:solidFill>
                <a:latin typeface="Century Gothic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2"/>
              </a:buClr>
              <a:buFont typeface="Arial" charset="0"/>
              <a:buChar char="•"/>
              <a:defRPr sz="2000">
                <a:solidFill>
                  <a:schemeClr val="tx2"/>
                </a:solidFill>
                <a:latin typeface="Century Gothic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B5AE53"/>
              </a:buClr>
              <a:buFont typeface="Arial" charset="0"/>
              <a:buChar char="•"/>
              <a:defRPr>
                <a:solidFill>
                  <a:schemeClr val="tx2"/>
                </a:solidFill>
                <a:latin typeface="Century Gothic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848058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fld id="{77757773-1ADA-4AD7-AF37-CFD6BD5CCD81}" type="slidenum">
              <a:rPr lang="ru-RU" altLang="ru-RU" sz="1400" smtClean="0">
                <a:solidFill>
                  <a:srgbClr val="000000"/>
                </a:solidFill>
                <a:latin typeface="Arial" charset="0"/>
              </a:rPr>
              <a:pPr eaLnBrk="1" hangingPunct="1">
                <a:spcBef>
                  <a:spcPct val="0"/>
                </a:spcBef>
                <a:buClrTx/>
                <a:buFontTx/>
                <a:buNone/>
              </a:pPr>
              <a:t>2</a:t>
            </a:fld>
            <a:endParaRPr lang="ru-RU" altLang="ru-RU" sz="140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051" name="Заголовок 1"/>
          <p:cNvSpPr>
            <a:spLocks noGrp="1"/>
          </p:cNvSpPr>
          <p:nvPr>
            <p:ph type="title" idx="4294967295"/>
          </p:nvPr>
        </p:nvSpPr>
        <p:spPr>
          <a:xfrm>
            <a:off x="503238" y="260350"/>
            <a:ext cx="8640762" cy="882650"/>
          </a:xfrm>
        </p:spPr>
        <p:txBody>
          <a:bodyPr/>
          <a:lstStyle/>
          <a:p>
            <a:pPr eaLnBrk="1" fontAlgn="auto" hangingPunct="1">
              <a:lnSpc>
                <a:spcPct val="80000"/>
              </a:lnSpc>
              <a:spcAft>
                <a:spcPts val="0"/>
              </a:spcAft>
              <a:defRPr/>
            </a:pPr>
            <a:r>
              <a:rPr lang="ru-RU" sz="2400" b="1" dirty="0" smtClean="0">
                <a:solidFill>
                  <a:srgbClr val="002060"/>
                </a:solidFill>
                <a:latin typeface="Arial" charset="0"/>
                <a:ea typeface="+mn-ea"/>
                <a:cs typeface="Times New Roman" pitchFamily="18" charset="0"/>
              </a:rPr>
              <a:t>Динамика доходов за 2018-2021 годы, тыс. руб.</a:t>
            </a:r>
            <a:r>
              <a:rPr lang="ru-RU" sz="2400" b="1" dirty="0" smtClean="0">
                <a:solidFill>
                  <a:srgbClr val="FF0000"/>
                </a:solidFill>
                <a:latin typeface="Arial" charset="0"/>
                <a:ea typeface="+mn-ea"/>
                <a:cs typeface="Times New Roman" pitchFamily="18" charset="0"/>
              </a:rPr>
              <a:t/>
            </a:r>
            <a:br>
              <a:rPr lang="ru-RU" sz="2400" b="1" dirty="0" smtClean="0">
                <a:solidFill>
                  <a:srgbClr val="FF0000"/>
                </a:solidFill>
                <a:latin typeface="Arial" charset="0"/>
                <a:ea typeface="+mn-ea"/>
                <a:cs typeface="Times New Roman" pitchFamily="18" charset="0"/>
              </a:rPr>
            </a:br>
            <a:endParaRPr lang="ru-RU" sz="2400" b="1" dirty="0" smtClean="0">
              <a:solidFill>
                <a:srgbClr val="FF0000"/>
              </a:solidFill>
            </a:endParaRPr>
          </a:p>
        </p:txBody>
      </p:sp>
      <p:sp>
        <p:nvSpPr>
          <p:cNvPr id="21508" name="Заголовок 1"/>
          <p:cNvSpPr txBox="1">
            <a:spLocks/>
          </p:cNvSpPr>
          <p:nvPr/>
        </p:nvSpPr>
        <p:spPr bwMode="auto">
          <a:xfrm>
            <a:off x="160338" y="571500"/>
            <a:ext cx="4645025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•"/>
              <a:defRPr sz="2400">
                <a:solidFill>
                  <a:schemeClr val="tx2"/>
                </a:solidFill>
                <a:latin typeface="Century Gothic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2"/>
              </a:buClr>
              <a:buFont typeface="Arial" charset="0"/>
              <a:buChar char="•"/>
              <a:defRPr sz="2000">
                <a:solidFill>
                  <a:schemeClr val="tx2"/>
                </a:solidFill>
                <a:latin typeface="Century Gothic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B5AE53"/>
              </a:buClr>
              <a:buFont typeface="Arial" charset="0"/>
              <a:buChar char="•"/>
              <a:defRPr>
                <a:solidFill>
                  <a:schemeClr val="tx2"/>
                </a:solidFill>
                <a:latin typeface="Century Gothic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848058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9pPr>
          </a:lstStyle>
          <a:p>
            <a:pPr algn="ctr">
              <a:lnSpc>
                <a:spcPct val="80000"/>
              </a:lnSpc>
              <a:spcBef>
                <a:spcPct val="0"/>
              </a:spcBef>
              <a:buClrTx/>
              <a:buFontTx/>
              <a:buNone/>
            </a:pPr>
            <a:endParaRPr lang="ru-RU" altLang="ru-RU">
              <a:solidFill>
                <a:srgbClr val="514185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21509" name="Object 1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11152886"/>
              </p:ext>
            </p:extLst>
          </p:nvPr>
        </p:nvGraphicFramePr>
        <p:xfrm>
          <a:off x="847725" y="1865313"/>
          <a:ext cx="7375525" cy="43783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31" name="Диаграмма" r:id="rId4" imgW="8258192" imgH="4905439" progId="MSGraph.Chart.8">
                  <p:embed followColorScheme="full"/>
                </p:oleObj>
              </mc:Choice>
              <mc:Fallback>
                <p:oleObj name="Диаграмма" r:id="rId4" imgW="8258192" imgH="4905439" progId="MSGraph.Chart.8">
                  <p:embed followColorScheme="full"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47725" y="1865313"/>
                        <a:ext cx="7375525" cy="43783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76200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Заголовок 1"/>
          <p:cNvSpPr>
            <a:spLocks noGrp="1"/>
          </p:cNvSpPr>
          <p:nvPr>
            <p:ph type="title" idx="4294967295"/>
          </p:nvPr>
        </p:nvSpPr>
        <p:spPr>
          <a:xfrm>
            <a:off x="323528" y="260350"/>
            <a:ext cx="8066410" cy="504825"/>
          </a:xfrm>
        </p:spPr>
        <p:txBody>
          <a:bodyPr/>
          <a:lstStyle/>
          <a:p>
            <a:pPr algn="ctr" eaLnBrk="1" hangingPunct="1">
              <a:lnSpc>
                <a:spcPct val="80000"/>
              </a:lnSpc>
              <a:defRPr/>
            </a:pPr>
            <a:r>
              <a:rPr lang="ru-RU" sz="2400" b="1" kern="1200" dirty="0" smtClean="0">
                <a:solidFill>
                  <a:srgbClr val="00B050"/>
                </a:solidFill>
                <a:latin typeface="Arial" charset="0"/>
                <a:ea typeface="+mn-ea"/>
                <a:cs typeface="Times New Roman" pitchFamily="18" charset="0"/>
              </a:rPr>
              <a:t>Динамика доходов за 2018-2019 годы</a:t>
            </a:r>
            <a:br>
              <a:rPr lang="ru-RU" sz="2400" b="1" kern="1200" dirty="0" smtClean="0">
                <a:solidFill>
                  <a:srgbClr val="00B050"/>
                </a:solidFill>
                <a:latin typeface="Arial" charset="0"/>
                <a:ea typeface="+mn-ea"/>
                <a:cs typeface="Times New Roman" pitchFamily="18" charset="0"/>
              </a:rPr>
            </a:br>
            <a:endParaRPr lang="ru-RU" sz="2400" b="1" dirty="0" smtClean="0">
              <a:solidFill>
                <a:srgbClr val="00B050"/>
              </a:solidFill>
            </a:endParaRPr>
          </a:p>
        </p:txBody>
      </p:sp>
      <p:sp>
        <p:nvSpPr>
          <p:cNvPr id="27651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04250" y="6453188"/>
            <a:ext cx="539750" cy="40481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62DD1DB4-DF98-4853-AB07-7982E77097A4}" type="slidenum">
              <a:rPr lang="ru-RU" sz="1400" smtClean="0">
                <a:solidFill>
                  <a:srgbClr val="000000"/>
                </a:solidFill>
              </a:rPr>
              <a:pPr eaLnBrk="1" hangingPunct="1"/>
              <a:t>3</a:t>
            </a:fld>
            <a:endParaRPr lang="ru-RU" sz="1400" smtClean="0">
              <a:solidFill>
                <a:srgbClr val="000000"/>
              </a:solidFill>
            </a:endParaRPr>
          </a:p>
        </p:txBody>
      </p:sp>
      <p:sp>
        <p:nvSpPr>
          <p:cNvPr id="27652" name="Заголовок 1"/>
          <p:cNvSpPr txBox="1">
            <a:spLocks/>
          </p:cNvSpPr>
          <p:nvPr/>
        </p:nvSpPr>
        <p:spPr bwMode="auto">
          <a:xfrm>
            <a:off x="160338" y="571500"/>
            <a:ext cx="4645025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lnSpc>
                <a:spcPct val="80000"/>
              </a:lnSpc>
            </a:pPr>
            <a:endParaRPr lang="ru-RU" sz="2400" smtClean="0">
              <a:solidFill>
                <a:srgbClr val="514185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27653" name="Object 1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22843391"/>
              </p:ext>
            </p:extLst>
          </p:nvPr>
        </p:nvGraphicFramePr>
        <p:xfrm>
          <a:off x="544513" y="1772816"/>
          <a:ext cx="7658100" cy="46593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04" name="Диаграмма" r:id="rId3" imgW="8572433" imgH="5219662" progId="MSGraph.Chart.8">
                  <p:embed followColorScheme="full"/>
                </p:oleObj>
              </mc:Choice>
              <mc:Fallback>
                <p:oleObj name="Диаграмма" r:id="rId3" imgW="8572433" imgH="5219662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44513" y="1772816"/>
                        <a:ext cx="7658100" cy="46593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76200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654" name="Rectangle 12"/>
          <p:cNvSpPr>
            <a:spLocks noChangeArrowheads="1"/>
          </p:cNvSpPr>
          <p:nvPr/>
        </p:nvSpPr>
        <p:spPr bwMode="auto">
          <a:xfrm>
            <a:off x="1543012" y="2364146"/>
            <a:ext cx="863600" cy="57467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1600" b="1" dirty="0" smtClean="0">
                <a:solidFill>
                  <a:srgbClr val="FF5050"/>
                </a:solidFill>
                <a:latin typeface="Times New Roman" pitchFamily="18" charset="0"/>
              </a:rPr>
              <a:t>+24 202</a:t>
            </a:r>
          </a:p>
        </p:txBody>
      </p:sp>
      <p:sp>
        <p:nvSpPr>
          <p:cNvPr id="27656" name="Rectangle 16"/>
          <p:cNvSpPr>
            <a:spLocks noChangeArrowheads="1"/>
          </p:cNvSpPr>
          <p:nvPr/>
        </p:nvSpPr>
        <p:spPr bwMode="auto">
          <a:xfrm>
            <a:off x="4373563" y="2132013"/>
            <a:ext cx="1135062" cy="50482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1600" b="1" dirty="0" smtClean="0">
                <a:solidFill>
                  <a:srgbClr val="FF0000"/>
                </a:solidFill>
                <a:latin typeface="Times New Roman" pitchFamily="18" charset="0"/>
              </a:rPr>
              <a:t>-51 479</a:t>
            </a:r>
          </a:p>
          <a:p>
            <a:pPr algn="ctr"/>
            <a:endParaRPr lang="ru-RU" sz="1600" b="1" dirty="0" smtClean="0">
              <a:solidFill>
                <a:srgbClr val="FF0000"/>
              </a:solidFill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2882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7813"/>
            <a:ext cx="8229600" cy="486891"/>
          </a:xfrm>
        </p:spPr>
        <p:txBody>
          <a:bodyPr/>
          <a:lstStyle/>
          <a:p>
            <a:r>
              <a:rPr lang="ru-RU" sz="2400" b="1" dirty="0" smtClean="0"/>
              <a:t>Динамика налоговых доходов, тыс. руб.</a:t>
            </a:r>
            <a:endParaRPr lang="ru-RU" sz="2400" b="1" dirty="0"/>
          </a:p>
        </p:txBody>
      </p:sp>
      <p:graphicFrame>
        <p:nvGraphicFramePr>
          <p:cNvPr id="5" name="Диаграмма 4"/>
          <p:cNvGraphicFramePr>
            <a:graphicFrameLocks noGrp="1"/>
          </p:cNvGraphicFramePr>
          <p:nvPr>
            <p:ph type="chart" idx="1"/>
            <p:extLst>
              <p:ext uri="{D42A27DB-BD31-4B8C-83A1-F6EECF244321}">
                <p14:modId xmlns:p14="http://schemas.microsoft.com/office/powerpoint/2010/main" val="1504664532"/>
              </p:ext>
            </p:extLst>
          </p:nvPr>
        </p:nvGraphicFramePr>
        <p:xfrm>
          <a:off x="457200" y="1600200"/>
          <a:ext cx="8229600" cy="4530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4568279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ChangeArrowheads="1"/>
          </p:cNvSpPr>
          <p:nvPr/>
        </p:nvSpPr>
        <p:spPr bwMode="auto">
          <a:xfrm flipV="1">
            <a:off x="0" y="765175"/>
            <a:ext cx="9144000" cy="315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eaLnBrk="0" hangingPunct="0"/>
            <a:endParaRPr lang="ru-RU" smtClean="0">
              <a:solidFill>
                <a:prstClr val="black"/>
              </a:solidFill>
            </a:endParaRPr>
          </a:p>
        </p:txBody>
      </p:sp>
      <p:sp>
        <p:nvSpPr>
          <p:cNvPr id="93187" name="Rectangle 3"/>
          <p:cNvSpPr>
            <a:spLocks noGrp="1" noChangeArrowheads="1"/>
          </p:cNvSpPr>
          <p:nvPr>
            <p:ph type="title"/>
          </p:nvPr>
        </p:nvSpPr>
        <p:spPr>
          <a:xfrm>
            <a:off x="539750" y="0"/>
            <a:ext cx="8102600" cy="1357313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sz="24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Georgia" pitchFamily="18" charset="0"/>
                <a:cs typeface="Arial" charset="0"/>
              </a:rPr>
              <a:t>Динамика  неналоговых доходов </a:t>
            </a:r>
            <a:r>
              <a:rPr lang="ru-RU" sz="2400" b="1" dirty="0" err="1" smtClean="0">
                <a:solidFill>
                  <a:srgbClr val="0070C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Georgia" pitchFamily="18" charset="0"/>
                <a:cs typeface="Arial" charset="0"/>
              </a:rPr>
              <a:t>Шелеховского</a:t>
            </a:r>
            <a:r>
              <a:rPr lang="ru-RU" sz="24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Georgia" pitchFamily="18" charset="0"/>
                <a:cs typeface="Arial" charset="0"/>
              </a:rPr>
              <a:t> района  в 2018 – 2019 гг.        (тыс. рублей)</a:t>
            </a:r>
          </a:p>
        </p:txBody>
      </p:sp>
      <p:graphicFrame>
        <p:nvGraphicFramePr>
          <p:cNvPr id="29700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18048638"/>
              </p:ext>
            </p:extLst>
          </p:nvPr>
        </p:nvGraphicFramePr>
        <p:xfrm>
          <a:off x="-180975" y="1152525"/>
          <a:ext cx="10355263" cy="46561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40" name="Лист" r:id="rId3" imgW="7219984" imgH="3248138" progId="Excel.Sheet.8">
                  <p:embed/>
                </p:oleObj>
              </mc:Choice>
              <mc:Fallback>
                <p:oleObj name="Лист" r:id="rId3" imgW="7219984" imgH="3248138" progId="Excel.Shee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80975" y="1152525"/>
                        <a:ext cx="10355263" cy="46561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701" name="AutoShape 15"/>
          <p:cNvSpPr>
            <a:spLocks noChangeArrowheads="1"/>
          </p:cNvSpPr>
          <p:nvPr/>
        </p:nvSpPr>
        <p:spPr bwMode="auto">
          <a:xfrm rot="-5400000">
            <a:off x="6516688" y="4581525"/>
            <a:ext cx="1079500" cy="358775"/>
          </a:xfrm>
          <a:prstGeom prst="roundRect">
            <a:avLst>
              <a:gd name="adj" fmla="val 16667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 eaLnBrk="0" hangingPunct="0"/>
            <a:endParaRPr lang="ru-RU" sz="1300" b="1" smtClean="0">
              <a:solidFill>
                <a:prstClr val="black"/>
              </a:solidFill>
            </a:endParaRPr>
          </a:p>
        </p:txBody>
      </p:sp>
      <p:sp>
        <p:nvSpPr>
          <p:cNvPr id="29702" name="AutoShape 15"/>
          <p:cNvSpPr>
            <a:spLocks noChangeArrowheads="1"/>
          </p:cNvSpPr>
          <p:nvPr/>
        </p:nvSpPr>
        <p:spPr bwMode="auto">
          <a:xfrm rot="-5400000">
            <a:off x="7056438" y="4184650"/>
            <a:ext cx="1295400" cy="358775"/>
          </a:xfrm>
          <a:prstGeom prst="roundRect">
            <a:avLst>
              <a:gd name="adj" fmla="val 16667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 eaLnBrk="0" hangingPunct="0"/>
            <a:r>
              <a:rPr lang="ru-RU" sz="1600" b="1" smtClean="0">
                <a:solidFill>
                  <a:srgbClr val="00FF00"/>
                </a:solidFill>
              </a:rPr>
              <a:t> </a:t>
            </a:r>
            <a:r>
              <a:rPr lang="ru-RU" sz="1300" b="1" smtClean="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29703" name="Rectangle 12"/>
          <p:cNvSpPr>
            <a:spLocks noChangeArrowheads="1"/>
          </p:cNvSpPr>
          <p:nvPr/>
        </p:nvSpPr>
        <p:spPr bwMode="auto">
          <a:xfrm>
            <a:off x="2195737" y="3516313"/>
            <a:ext cx="1152302" cy="57467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1600" b="1" dirty="0" smtClean="0">
                <a:solidFill>
                  <a:srgbClr val="FF5050"/>
                </a:solidFill>
                <a:latin typeface="Times New Roman" pitchFamily="18" charset="0"/>
              </a:rPr>
              <a:t>-330,7</a:t>
            </a:r>
            <a:endParaRPr lang="ru-RU" sz="1800" b="1" dirty="0" smtClean="0">
              <a:solidFill>
                <a:srgbClr val="FF5050"/>
              </a:solidFill>
              <a:latin typeface="Times New Roman" pitchFamily="18" charset="0"/>
            </a:endParaRPr>
          </a:p>
        </p:txBody>
      </p:sp>
      <p:sp>
        <p:nvSpPr>
          <p:cNvPr id="29704" name="Rectangle 12"/>
          <p:cNvSpPr>
            <a:spLocks noChangeArrowheads="1"/>
          </p:cNvSpPr>
          <p:nvPr/>
        </p:nvSpPr>
        <p:spPr bwMode="auto">
          <a:xfrm>
            <a:off x="3995738" y="3789363"/>
            <a:ext cx="863600" cy="57467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1600" b="1" dirty="0" smtClean="0">
                <a:solidFill>
                  <a:srgbClr val="FF5050"/>
                </a:solidFill>
                <a:latin typeface="Times New Roman" pitchFamily="18" charset="0"/>
              </a:rPr>
              <a:t>-135,5</a:t>
            </a:r>
          </a:p>
        </p:txBody>
      </p:sp>
      <p:sp>
        <p:nvSpPr>
          <p:cNvPr id="29705" name="Rectangle 12"/>
          <p:cNvSpPr>
            <a:spLocks noChangeArrowheads="1"/>
          </p:cNvSpPr>
          <p:nvPr/>
        </p:nvSpPr>
        <p:spPr bwMode="auto">
          <a:xfrm>
            <a:off x="5787252" y="3173065"/>
            <a:ext cx="863600" cy="57467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1600" b="1" dirty="0" smtClean="0">
                <a:solidFill>
                  <a:srgbClr val="FF5050"/>
                </a:solidFill>
                <a:latin typeface="Times New Roman" pitchFamily="18" charset="0"/>
              </a:rPr>
              <a:t>+ 7 644,7</a:t>
            </a:r>
          </a:p>
        </p:txBody>
      </p:sp>
      <p:sp>
        <p:nvSpPr>
          <p:cNvPr id="29706" name="Rectangle 12"/>
          <p:cNvSpPr>
            <a:spLocks noChangeArrowheads="1"/>
          </p:cNvSpPr>
          <p:nvPr/>
        </p:nvSpPr>
        <p:spPr bwMode="auto">
          <a:xfrm>
            <a:off x="7783513" y="4062413"/>
            <a:ext cx="863600" cy="57467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1600" b="1" dirty="0" smtClean="0">
                <a:solidFill>
                  <a:srgbClr val="FF5050"/>
                </a:solidFill>
                <a:latin typeface="Times New Roman" pitchFamily="18" charset="0"/>
              </a:rPr>
              <a:t>-630,7</a:t>
            </a:r>
          </a:p>
        </p:txBody>
      </p:sp>
    </p:spTree>
    <p:extLst>
      <p:ext uri="{BB962C8B-B14F-4D97-AF65-F5344CB8AC3E}">
        <p14:creationId xmlns:p14="http://schemas.microsoft.com/office/powerpoint/2010/main" val="34680588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8092535"/>
              </p:ext>
            </p:extLst>
          </p:nvPr>
        </p:nvGraphicFramePr>
        <p:xfrm>
          <a:off x="323528" y="764704"/>
          <a:ext cx="8496944" cy="55494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06349"/>
                <a:gridCol w="792815"/>
                <a:gridCol w="792815"/>
                <a:gridCol w="951378"/>
                <a:gridCol w="872097"/>
                <a:gridCol w="951378"/>
                <a:gridCol w="951378"/>
                <a:gridCol w="1678734"/>
              </a:tblGrid>
              <a:tr h="1296144">
                <a:tc>
                  <a:txBody>
                    <a:bodyPr/>
                    <a:lstStyle/>
                    <a:p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Наименование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2018 год, млн. руб.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2019 год, млн. руб.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Изм.2019 к 2018,</a:t>
                      </a:r>
                    </a:p>
                    <a:p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 млн.</a:t>
                      </a:r>
                      <a:r>
                        <a:rPr lang="en-US" sz="1600" b="1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руб.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2020 год, млн. руб.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Изм. 2020 к 2019, млн. руб.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2021 год, млн.</a:t>
                      </a:r>
                      <a:r>
                        <a:rPr lang="ru-RU" sz="1600" b="1" baseline="0" dirty="0" smtClean="0">
                          <a:solidFill>
                            <a:schemeClr val="tx1"/>
                          </a:solidFill>
                        </a:rPr>
                        <a:t> руб.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Изм. 2021</a:t>
                      </a:r>
                      <a:r>
                        <a:rPr lang="ru-RU" sz="1600" b="1" baseline="0" dirty="0" smtClean="0">
                          <a:solidFill>
                            <a:schemeClr val="tx1"/>
                          </a:solidFill>
                        </a:rPr>
                        <a:t> к 2020, млн. руб.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431113">
                <a:tc>
                  <a:txBody>
                    <a:bodyPr/>
                    <a:lstStyle/>
                    <a:p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Дотации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63,1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69,1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C00000"/>
                          </a:solidFill>
                        </a:rPr>
                        <a:t>+6,0</a:t>
                      </a:r>
                      <a:endParaRPr lang="ru-RU" sz="16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35,8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C00000"/>
                          </a:solidFill>
                        </a:rPr>
                        <a:t>-33,3</a:t>
                      </a:r>
                      <a:endParaRPr lang="ru-RU" sz="16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29,5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C00000"/>
                          </a:solidFill>
                        </a:rPr>
                        <a:t>-6,3</a:t>
                      </a:r>
                      <a:endParaRPr lang="ru-RU" sz="16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</a:tr>
              <a:tr h="410211">
                <a:tc>
                  <a:txBody>
                    <a:bodyPr/>
                    <a:lstStyle/>
                    <a:p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Субсидии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105,4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16,4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C00000"/>
                          </a:solidFill>
                        </a:rPr>
                        <a:t>-89,0</a:t>
                      </a:r>
                      <a:endParaRPr lang="ru-RU" sz="16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16,4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C00000"/>
                          </a:solidFill>
                        </a:rPr>
                        <a:t>0,0</a:t>
                      </a:r>
                      <a:endParaRPr lang="ru-RU" sz="16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16,7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C00000"/>
                          </a:solidFill>
                        </a:rPr>
                        <a:t>+0,3</a:t>
                      </a:r>
                      <a:endParaRPr lang="ru-RU" sz="16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</a:tr>
              <a:tr h="410211">
                <a:tc>
                  <a:txBody>
                    <a:bodyPr/>
                    <a:lstStyle/>
                    <a:p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Субвенции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745,1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781,9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C00000"/>
                          </a:solidFill>
                        </a:rPr>
                        <a:t>+36,8</a:t>
                      </a:r>
                      <a:endParaRPr lang="ru-RU" sz="16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784,9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C00000"/>
                          </a:solidFill>
                        </a:rPr>
                        <a:t>+3,0</a:t>
                      </a:r>
                      <a:endParaRPr lang="ru-RU" sz="16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784,8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C00000"/>
                          </a:solidFill>
                        </a:rPr>
                        <a:t>-0,1</a:t>
                      </a:r>
                      <a:endParaRPr lang="ru-RU" sz="16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</a:tr>
              <a:tr h="640603">
                <a:tc>
                  <a:txBody>
                    <a:bodyPr/>
                    <a:lstStyle/>
                    <a:p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Иные</a:t>
                      </a:r>
                      <a:r>
                        <a:rPr lang="ru-RU" sz="1600" b="1" baseline="0" dirty="0" smtClean="0">
                          <a:solidFill>
                            <a:schemeClr val="tx1"/>
                          </a:solidFill>
                        </a:rPr>
                        <a:t> МБТ,</a:t>
                      </a:r>
                    </a:p>
                    <a:p>
                      <a:r>
                        <a:rPr lang="ru-RU" sz="1600" b="1" baseline="0" dirty="0" smtClean="0">
                          <a:solidFill>
                            <a:schemeClr val="tx1"/>
                          </a:solidFill>
                        </a:rPr>
                        <a:t>из них: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2,4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0,0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C00000"/>
                          </a:solidFill>
                        </a:rPr>
                        <a:t>-2,4</a:t>
                      </a:r>
                      <a:endParaRPr lang="ru-RU" sz="16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0,0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C00000"/>
                          </a:solidFill>
                        </a:rPr>
                        <a:t>0,0</a:t>
                      </a:r>
                      <a:endParaRPr lang="ru-RU" sz="16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0,0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C00000"/>
                          </a:solidFill>
                        </a:rPr>
                        <a:t>0,0</a:t>
                      </a:r>
                      <a:endParaRPr lang="ru-RU" sz="16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</a:tr>
              <a:tr h="809183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chemeClr val="tx1"/>
                          </a:solidFill>
                        </a:rPr>
                        <a:t>на </a:t>
                      </a:r>
                      <a:r>
                        <a:rPr lang="ru-RU" sz="1400" b="1" dirty="0" err="1" smtClean="0">
                          <a:solidFill>
                            <a:schemeClr val="tx1"/>
                          </a:solidFill>
                        </a:rPr>
                        <a:t>осущ</a:t>
                      </a:r>
                      <a:r>
                        <a:rPr lang="ru-RU" sz="1400" b="1" dirty="0" smtClean="0">
                          <a:solidFill>
                            <a:schemeClr val="tx1"/>
                          </a:solidFill>
                        </a:rPr>
                        <a:t>. части полномочий</a:t>
                      </a:r>
                      <a:endParaRPr lang="ru-RU" sz="14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2,4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0,0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C00000"/>
                          </a:solidFill>
                        </a:rPr>
                        <a:t>-2,4</a:t>
                      </a:r>
                      <a:endParaRPr lang="ru-RU" sz="16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0,0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C00000"/>
                          </a:solidFill>
                        </a:rPr>
                        <a:t>0,0</a:t>
                      </a:r>
                      <a:endParaRPr lang="ru-RU" sz="16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0,0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C00000"/>
                          </a:solidFill>
                        </a:rPr>
                        <a:t>0,0</a:t>
                      </a:r>
                      <a:endParaRPr lang="ru-RU" sz="16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</a:tr>
              <a:tr h="486713">
                <a:tc>
                  <a:txBody>
                    <a:bodyPr/>
                    <a:lstStyle/>
                    <a:p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Иные БП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6,8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2,8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C00000"/>
                          </a:solidFill>
                        </a:rPr>
                        <a:t>-4,0</a:t>
                      </a:r>
                      <a:endParaRPr lang="ru-RU" sz="16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2,8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C00000"/>
                          </a:solidFill>
                        </a:rPr>
                        <a:t>0,0</a:t>
                      </a:r>
                      <a:endParaRPr lang="ru-RU" sz="16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2,8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C00000"/>
                          </a:solidFill>
                        </a:rPr>
                        <a:t>0,0</a:t>
                      </a:r>
                      <a:endParaRPr lang="ru-RU" sz="16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</a:tr>
              <a:tr h="640603">
                <a:tc>
                  <a:txBody>
                    <a:bodyPr/>
                    <a:lstStyle/>
                    <a:p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Возврат остатков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-1,1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0,0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C00000"/>
                          </a:solidFill>
                        </a:rPr>
                        <a:t>+1,1</a:t>
                      </a:r>
                      <a:endParaRPr lang="ru-RU" sz="16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0,0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C00000"/>
                          </a:solidFill>
                        </a:rPr>
                        <a:t>0,0</a:t>
                      </a:r>
                      <a:endParaRPr lang="ru-RU" sz="16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0,0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C00000"/>
                          </a:solidFill>
                        </a:rPr>
                        <a:t>0,0</a:t>
                      </a:r>
                      <a:endParaRPr lang="ru-RU" sz="16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</a:tr>
              <a:tr h="410211">
                <a:tc>
                  <a:txBody>
                    <a:bodyPr/>
                    <a:lstStyle/>
                    <a:p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ВСЕГО БП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921,7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870,2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C00000"/>
                          </a:solidFill>
                        </a:rPr>
                        <a:t>-51,5</a:t>
                      </a:r>
                      <a:endParaRPr lang="ru-RU" sz="16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839,9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C00000"/>
                          </a:solidFill>
                        </a:rPr>
                        <a:t>-30,3</a:t>
                      </a:r>
                      <a:endParaRPr lang="ru-RU" sz="16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833,8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C00000"/>
                          </a:solidFill>
                        </a:rPr>
                        <a:t>-6,1</a:t>
                      </a:r>
                      <a:endParaRPr lang="ru-RU" sz="16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830020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62003950"/>
              </p:ext>
            </p:extLst>
          </p:nvPr>
        </p:nvGraphicFramePr>
        <p:xfrm>
          <a:off x="461828" y="-14480"/>
          <a:ext cx="8208912" cy="63765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04456"/>
                <a:gridCol w="1368152"/>
                <a:gridCol w="1296144"/>
                <a:gridCol w="1440160"/>
              </a:tblGrid>
              <a:tr h="302162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rgbClr val="C00000"/>
                          </a:solidFill>
                        </a:rPr>
                        <a:t>Наименование</a:t>
                      </a:r>
                      <a:r>
                        <a:rPr lang="ru-RU" sz="1400" baseline="0" dirty="0" smtClean="0">
                          <a:solidFill>
                            <a:srgbClr val="C00000"/>
                          </a:solidFill>
                        </a:rPr>
                        <a:t> раздела</a:t>
                      </a:r>
                      <a:r>
                        <a:rPr lang="ru-RU" sz="1400" dirty="0" smtClean="0">
                          <a:solidFill>
                            <a:srgbClr val="C00000"/>
                          </a:solidFill>
                        </a:rPr>
                        <a:t> </a:t>
                      </a:r>
                      <a:endParaRPr lang="ru-RU" sz="1400" dirty="0">
                        <a:solidFill>
                          <a:srgbClr val="C00000"/>
                        </a:solidFill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rgbClr val="C00000"/>
                          </a:solidFill>
                        </a:rPr>
                        <a:t>2019, тыс. рублей</a:t>
                      </a:r>
                      <a:endParaRPr lang="ru-RU" sz="1400" dirty="0">
                        <a:solidFill>
                          <a:srgbClr val="C00000"/>
                        </a:solidFill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rgbClr val="C00000"/>
                          </a:solidFill>
                        </a:rPr>
                        <a:t>2020, тыс. рублей</a:t>
                      </a:r>
                      <a:endParaRPr lang="ru-RU" sz="1400" dirty="0">
                        <a:solidFill>
                          <a:srgbClr val="C00000"/>
                        </a:solidFill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rgbClr val="C00000"/>
                          </a:solidFill>
                        </a:rPr>
                        <a:t>2021, тыс. рублей</a:t>
                      </a:r>
                      <a:endParaRPr lang="ru-RU" sz="1400" dirty="0">
                        <a:solidFill>
                          <a:srgbClr val="C00000"/>
                        </a:solidFill>
                      </a:endParaRPr>
                    </a:p>
                  </a:txBody>
                  <a:tcPr marT="45733" marB="45733"/>
                </a:tc>
              </a:tr>
              <a:tr h="417918">
                <a:tc>
                  <a:txBody>
                    <a:bodyPr/>
                    <a:lstStyle/>
                    <a:p>
                      <a:pPr marL="285750" indent="-285750">
                        <a:buClr>
                          <a:schemeClr val="accent2"/>
                        </a:buClr>
                        <a:buFont typeface="Wingdings" pitchFamily="2" charset="2"/>
                        <a:buChar char="Ø"/>
                      </a:pPr>
                      <a:r>
                        <a:rPr lang="ru-RU" sz="16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бщегосударственные вопросы</a:t>
                      </a:r>
                      <a:endParaRPr lang="ru-RU" sz="16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35</a:t>
                      </a:r>
                      <a:r>
                        <a:rPr lang="ru-RU" sz="1400" b="1" baseline="0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849,4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25 168,4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22 935,3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</a:tr>
              <a:tr h="457328">
                <a:tc>
                  <a:txBody>
                    <a:bodyPr/>
                    <a:lstStyle/>
                    <a:p>
                      <a:pPr marL="285750" indent="-285750">
                        <a:buClr>
                          <a:srgbClr val="C00000"/>
                        </a:buClr>
                        <a:buFont typeface="Wingdings" pitchFamily="2" charset="2"/>
                        <a:buChar char="Ø"/>
                      </a:pPr>
                      <a:r>
                        <a:rPr lang="ru-RU" sz="16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циональная безопасность и правоохранительная</a:t>
                      </a:r>
                      <a:r>
                        <a:rPr lang="ru-RU" sz="1600" b="1" baseline="0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деятельность</a:t>
                      </a:r>
                      <a:r>
                        <a:rPr lang="ru-RU" sz="16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endParaRPr lang="ru-RU" sz="16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 816,7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 200,3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 015,5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</a:tr>
              <a:tr h="457328">
                <a:tc>
                  <a:txBody>
                    <a:bodyPr/>
                    <a:lstStyle/>
                    <a:p>
                      <a:pPr marL="285750" indent="-285750">
                        <a:buFont typeface="Wingdings" pitchFamily="2" charset="2"/>
                        <a:buChar char="Ø"/>
                      </a:pPr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циональная экономика,</a:t>
                      </a:r>
                      <a:r>
                        <a:rPr lang="ru-RU" sz="1400" b="1" baseline="0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в </a:t>
                      </a:r>
                      <a:r>
                        <a:rPr lang="ru-RU" sz="1400" b="1" baseline="0" dirty="0" err="1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т.ч</a:t>
                      </a:r>
                      <a:r>
                        <a:rPr lang="ru-RU" sz="1400" b="1" baseline="0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  <a:p>
                      <a:pPr marL="285750" indent="-285750">
                        <a:buFont typeface="Wingdings" pitchFamily="2" charset="2"/>
                        <a:buChar char="Ø"/>
                      </a:pPr>
                      <a:r>
                        <a:rPr lang="ru-RU" sz="1400" b="1" i="1" baseline="0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орожный фонд</a:t>
                      </a:r>
                      <a:endParaRPr lang="ru-RU" sz="1400" b="1" i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 185,0</a:t>
                      </a:r>
                    </a:p>
                    <a:p>
                      <a:pPr algn="ctr"/>
                      <a:r>
                        <a:rPr lang="ru-RU" sz="1400" b="1" i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496,1</a:t>
                      </a:r>
                      <a:endParaRPr lang="ru-RU" sz="1400" b="1" i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 275,0</a:t>
                      </a:r>
                    </a:p>
                    <a:p>
                      <a:pPr algn="ctr"/>
                      <a:r>
                        <a:rPr lang="ru-RU" sz="1400" b="1" i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886,1</a:t>
                      </a:r>
                      <a:endParaRPr lang="ru-RU" sz="1400" b="1" i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 512,9</a:t>
                      </a:r>
                    </a:p>
                    <a:p>
                      <a:pPr algn="ctr"/>
                      <a:r>
                        <a:rPr lang="ru-RU" sz="1400" b="1" i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 024,0</a:t>
                      </a:r>
                      <a:endParaRPr lang="ru-RU" sz="1400" b="1" i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</a:tr>
              <a:tr h="501217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Жилищно – коммунальное хозяйство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7 951,4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8 027,8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5 607,8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</a:tr>
              <a:tr h="457328">
                <a:tc>
                  <a:txBody>
                    <a:bodyPr/>
                    <a:lstStyle/>
                    <a:p>
                      <a:pPr marL="285750" indent="-285750">
                        <a:buFont typeface="Wingdings" pitchFamily="2" charset="2"/>
                        <a:buChar char="Ø"/>
                      </a:pPr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бразование, в том</a:t>
                      </a:r>
                      <a:r>
                        <a:rPr lang="ru-RU" sz="1400" b="1" baseline="0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числе:</a:t>
                      </a:r>
                    </a:p>
                    <a:p>
                      <a:r>
                        <a:rPr lang="ru-RU" sz="1400" b="1" baseline="0" dirty="0" smtClean="0">
                          <a:solidFill>
                            <a:srgbClr val="C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ошкольное образование</a:t>
                      </a:r>
                    </a:p>
                    <a:p>
                      <a:r>
                        <a:rPr lang="ru-RU" sz="1400" b="1" baseline="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бщее образование</a:t>
                      </a:r>
                    </a:p>
                    <a:p>
                      <a:r>
                        <a:rPr lang="ru-RU" sz="1400" b="1" baseline="0" dirty="0" smtClean="0">
                          <a:solidFill>
                            <a:srgbClr val="00206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ополнительное образование</a:t>
                      </a:r>
                      <a:endParaRPr lang="ru-RU" sz="1400" b="1" dirty="0">
                        <a:solidFill>
                          <a:srgbClr val="00206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116 640,0</a:t>
                      </a:r>
                    </a:p>
                    <a:p>
                      <a:pPr algn="ctr"/>
                      <a:r>
                        <a:rPr lang="ru-RU" sz="1400" b="1" dirty="0" smtClean="0">
                          <a:solidFill>
                            <a:srgbClr val="FF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35 864,3</a:t>
                      </a:r>
                    </a:p>
                    <a:p>
                      <a:pPr algn="ctr"/>
                      <a:r>
                        <a:rPr lang="ru-RU" sz="1400" b="1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31 681,4</a:t>
                      </a:r>
                    </a:p>
                    <a:p>
                      <a:pPr algn="ctr"/>
                      <a:r>
                        <a:rPr lang="ru-RU" sz="1400" b="1" dirty="0" smtClean="0">
                          <a:solidFill>
                            <a:srgbClr val="00206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15 946,6</a:t>
                      </a:r>
                      <a:endParaRPr lang="ru-RU" sz="1400" b="1" dirty="0">
                        <a:solidFill>
                          <a:srgbClr val="00206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123 951,3</a:t>
                      </a:r>
                    </a:p>
                    <a:p>
                      <a:pPr algn="ctr"/>
                      <a:r>
                        <a:rPr lang="ru-RU" sz="1400" b="1" dirty="0" smtClean="0">
                          <a:solidFill>
                            <a:srgbClr val="FF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48 247,0</a:t>
                      </a:r>
                    </a:p>
                    <a:p>
                      <a:pPr algn="ctr"/>
                      <a:r>
                        <a:rPr lang="ru-RU" sz="1400" b="1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40 111,1</a:t>
                      </a:r>
                    </a:p>
                    <a:p>
                      <a:pPr algn="ctr"/>
                      <a:r>
                        <a:rPr lang="ru-RU" sz="1400" b="1" dirty="0" smtClean="0">
                          <a:solidFill>
                            <a:srgbClr val="00206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04 422,8</a:t>
                      </a:r>
                      <a:endParaRPr lang="ru-RU" sz="1400" b="1" dirty="0">
                        <a:solidFill>
                          <a:srgbClr val="00206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100 837,1</a:t>
                      </a:r>
                    </a:p>
                    <a:p>
                      <a:pPr algn="ctr"/>
                      <a:r>
                        <a:rPr lang="ru-RU" sz="1400" b="1" dirty="0" smtClean="0">
                          <a:solidFill>
                            <a:srgbClr val="FF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34 740,8</a:t>
                      </a:r>
                    </a:p>
                    <a:p>
                      <a:pPr algn="ctr"/>
                      <a:r>
                        <a:rPr lang="ru-RU" sz="1400" b="1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36 496,7</a:t>
                      </a:r>
                    </a:p>
                    <a:p>
                      <a:pPr algn="ctr"/>
                      <a:r>
                        <a:rPr lang="ru-RU" sz="1400" b="1" dirty="0" smtClean="0">
                          <a:solidFill>
                            <a:srgbClr val="00206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00 369,5</a:t>
                      </a:r>
                      <a:endParaRPr lang="ru-RU" sz="1400" b="1" dirty="0">
                        <a:solidFill>
                          <a:srgbClr val="00206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</a:tr>
              <a:tr h="0">
                <a:tc>
                  <a:txBody>
                    <a:bodyPr/>
                    <a:lstStyle/>
                    <a:p>
                      <a:pPr marL="285750" indent="-285750">
                        <a:buFont typeface="Wingdings" pitchFamily="2" charset="2"/>
                        <a:buChar char="Ø"/>
                      </a:pPr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ультура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2 482,0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1 279,6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9 568,0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</a:tr>
              <a:tr h="309023">
                <a:tc>
                  <a:txBody>
                    <a:bodyPr/>
                    <a:lstStyle/>
                    <a:p>
                      <a:pPr marL="285750" indent="-285750">
                        <a:buFont typeface="Wingdings" pitchFamily="2" charset="2"/>
                        <a:buChar char="Ø"/>
                      </a:pPr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циальная политика</a:t>
                      </a: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4 569,7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4 644,7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4 719,7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</a:tr>
              <a:tr h="360040">
                <a:tc>
                  <a:txBody>
                    <a:bodyPr/>
                    <a:lstStyle/>
                    <a:p>
                      <a:pPr marL="285750" indent="-285750">
                        <a:buFont typeface="Wingdings" pitchFamily="2" charset="2"/>
                        <a:buChar char="Ø"/>
                      </a:pPr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Физическая культура</a:t>
                      </a:r>
                      <a:r>
                        <a:rPr lang="ru-RU" sz="1400" b="1" baseline="0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и спорт</a:t>
                      </a:r>
                      <a:endParaRPr lang="ru-RU" sz="1400" b="1" dirty="0" smtClean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5 094,8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6 922,6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5 846,5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</a:tr>
              <a:tr h="382715">
                <a:tc>
                  <a:txBody>
                    <a:bodyPr/>
                    <a:lstStyle/>
                    <a:p>
                      <a:pPr marL="285750" indent="-285750">
                        <a:buFont typeface="Wingdings" pitchFamily="2" charset="2"/>
                        <a:buChar char="Ø"/>
                      </a:pPr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редства массовой</a:t>
                      </a:r>
                      <a:r>
                        <a:rPr lang="ru-RU" sz="1400" b="1" baseline="0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информации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 300,0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 300,0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 300,0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</a:tr>
              <a:tr h="432048">
                <a:tc>
                  <a:txBody>
                    <a:bodyPr/>
                    <a:lstStyle/>
                    <a:p>
                      <a:pPr marL="285750" indent="-285750">
                        <a:buFont typeface="Wingdings" pitchFamily="2" charset="2"/>
                        <a:buChar char="Ø"/>
                      </a:pPr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бслуживание муниципального долга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2" marB="4573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715,0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2" marB="4573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540,0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2" marB="4573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540,0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2" marB="45732"/>
                </a:tc>
              </a:tr>
              <a:tr h="432048">
                <a:tc>
                  <a:txBody>
                    <a:bodyPr/>
                    <a:lstStyle/>
                    <a:p>
                      <a:pPr marL="285750" indent="-285750">
                        <a:buFont typeface="Wingdings" pitchFamily="2" charset="2"/>
                        <a:buChar char="Ø"/>
                      </a:pPr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ежбюджетные трансферты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2" marB="4573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1 056,0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2" marB="4573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0 061,4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2" marB="4573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9 979,9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2" marB="45732"/>
                </a:tc>
              </a:tr>
              <a:tr h="432048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rgbClr val="00206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ВСЕГО РАСХОДОВ, в </a:t>
                      </a:r>
                      <a:r>
                        <a:rPr lang="ru-RU" sz="1400" b="1" dirty="0" err="1" smtClean="0">
                          <a:solidFill>
                            <a:srgbClr val="00206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т.ч</a:t>
                      </a:r>
                      <a:r>
                        <a:rPr lang="ru-RU" sz="1400" b="1" dirty="0" smtClean="0">
                          <a:solidFill>
                            <a:srgbClr val="00206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  <a:p>
                      <a:r>
                        <a:rPr lang="ru-RU" sz="1400" b="1" dirty="0" smtClean="0">
                          <a:solidFill>
                            <a:srgbClr val="FF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сходы на финансирование социальной</a:t>
                      </a:r>
                      <a:r>
                        <a:rPr lang="ru-RU" sz="1400" b="1" baseline="0" dirty="0" smtClean="0">
                          <a:solidFill>
                            <a:srgbClr val="FF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400" b="1" dirty="0" smtClean="0">
                          <a:solidFill>
                            <a:srgbClr val="FF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феры</a:t>
                      </a:r>
                      <a:endParaRPr lang="ru-RU" sz="1400" b="1" dirty="0">
                        <a:solidFill>
                          <a:srgbClr val="FF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2" marB="4573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06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437 660,0</a:t>
                      </a:r>
                    </a:p>
                    <a:p>
                      <a:pPr algn="ctr"/>
                      <a:r>
                        <a:rPr lang="ru-RU" sz="1400" b="1" dirty="0" smtClean="0">
                          <a:solidFill>
                            <a:srgbClr val="FF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208 786,5</a:t>
                      </a:r>
                      <a:endParaRPr lang="ru-RU" sz="1400" b="1" dirty="0">
                        <a:solidFill>
                          <a:srgbClr val="FF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2" marB="4573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06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413 371,1</a:t>
                      </a:r>
                    </a:p>
                    <a:p>
                      <a:pPr algn="ctr"/>
                      <a:r>
                        <a:rPr lang="ru-RU" sz="1400" b="1" dirty="0" smtClean="0">
                          <a:solidFill>
                            <a:srgbClr val="FF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r>
                        <a:rPr lang="ru-RU" sz="1400" b="1" baseline="0" dirty="0" smtClean="0">
                          <a:solidFill>
                            <a:srgbClr val="FF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206 798,2</a:t>
                      </a:r>
                      <a:endParaRPr lang="ru-RU" sz="1400" b="1" dirty="0">
                        <a:solidFill>
                          <a:srgbClr val="FF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2" marB="4573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06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382 862,7</a:t>
                      </a:r>
                    </a:p>
                    <a:p>
                      <a:pPr algn="ctr"/>
                      <a:r>
                        <a:rPr lang="ru-RU" sz="1400" b="1" dirty="0" smtClean="0">
                          <a:solidFill>
                            <a:srgbClr val="FF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r>
                        <a:rPr lang="ru-RU" sz="1400" b="1" baseline="0" dirty="0" smtClean="0">
                          <a:solidFill>
                            <a:srgbClr val="FF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180 971,3</a:t>
                      </a:r>
                      <a:endParaRPr lang="ru-RU" sz="1400" b="1" dirty="0" smtClean="0">
                        <a:solidFill>
                          <a:srgbClr val="FF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2" marB="45732"/>
                </a:tc>
              </a:tr>
            </a:tbl>
          </a:graphicData>
        </a:graphic>
      </p:graphicFrame>
      <p:sp>
        <p:nvSpPr>
          <p:cNvPr id="3" name="Левая фигурная скобка 2"/>
          <p:cNvSpPr/>
          <p:nvPr/>
        </p:nvSpPr>
        <p:spPr>
          <a:xfrm>
            <a:off x="382636" y="2708920"/>
            <a:ext cx="155448" cy="914400"/>
          </a:xfrm>
          <a:prstGeom prst="leftBrac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08106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5450" y="407988"/>
            <a:ext cx="8261350" cy="1039812"/>
          </a:xfrm>
        </p:spPr>
        <p:txBody>
          <a:bodyPr>
            <a:norm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rgbClr val="002060"/>
                </a:solidFill>
              </a:rPr>
              <a:t>Структура Расходов бюджета</a:t>
            </a:r>
            <a:br>
              <a:rPr lang="ru-RU" sz="2000" b="1" dirty="0" smtClean="0">
                <a:solidFill>
                  <a:srgbClr val="002060"/>
                </a:solidFill>
              </a:rPr>
            </a:br>
            <a:r>
              <a:rPr lang="ru-RU" sz="2000" b="1" dirty="0" err="1" smtClean="0">
                <a:solidFill>
                  <a:srgbClr val="002060"/>
                </a:solidFill>
              </a:rPr>
              <a:t>Шелеховского</a:t>
            </a:r>
            <a:r>
              <a:rPr lang="ru-RU" sz="2000" b="1" dirty="0" smtClean="0">
                <a:solidFill>
                  <a:srgbClr val="002060"/>
                </a:solidFill>
              </a:rPr>
              <a:t> района в 2019-2021 годах, млн. рублей</a:t>
            </a:r>
            <a:endParaRPr lang="ru-RU" sz="2000" b="1" dirty="0">
              <a:solidFill>
                <a:srgbClr val="002060"/>
              </a:solidFill>
            </a:endParaRPr>
          </a:p>
        </p:txBody>
      </p:sp>
      <p:graphicFrame>
        <p:nvGraphicFramePr>
          <p:cNvPr id="3" name="Объект 4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3699821074"/>
              </p:ext>
            </p:extLst>
          </p:nvPr>
        </p:nvGraphicFramePr>
        <p:xfrm>
          <a:off x="179512" y="1772816"/>
          <a:ext cx="8208912" cy="41764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9780575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15597488"/>
              </p:ext>
            </p:extLst>
          </p:nvPr>
        </p:nvGraphicFramePr>
        <p:xfrm>
          <a:off x="467544" y="116632"/>
          <a:ext cx="8496944" cy="66700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56584"/>
                <a:gridCol w="1080120"/>
                <a:gridCol w="1080120"/>
                <a:gridCol w="1080120"/>
              </a:tblGrid>
              <a:tr h="370943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rgbClr val="C00000"/>
                          </a:solidFill>
                        </a:rPr>
                        <a:t>Наименование муниципальной программы </a:t>
                      </a:r>
                      <a:endParaRPr lang="ru-RU" sz="1400" dirty="0">
                        <a:solidFill>
                          <a:srgbClr val="C00000"/>
                        </a:solidFill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rgbClr val="C00000"/>
                          </a:solidFill>
                        </a:rPr>
                        <a:t>2019, тыс. рублей</a:t>
                      </a:r>
                      <a:endParaRPr lang="ru-RU" sz="1400" dirty="0">
                        <a:solidFill>
                          <a:srgbClr val="C00000"/>
                        </a:solidFill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rgbClr val="C00000"/>
                          </a:solidFill>
                        </a:rPr>
                        <a:t>2020, тыс. рублей</a:t>
                      </a:r>
                      <a:endParaRPr lang="ru-RU" sz="1400" dirty="0">
                        <a:solidFill>
                          <a:srgbClr val="C00000"/>
                        </a:solidFill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rgbClr val="C00000"/>
                          </a:solidFill>
                        </a:rPr>
                        <a:t>2021, тыс. рублей</a:t>
                      </a:r>
                      <a:endParaRPr lang="ru-RU" sz="1400" dirty="0">
                        <a:solidFill>
                          <a:srgbClr val="C00000"/>
                        </a:solidFill>
                      </a:endParaRPr>
                    </a:p>
                  </a:txBody>
                  <a:tcPr marT="45733" marB="45733"/>
                </a:tc>
              </a:tr>
              <a:tr h="518248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«Совершенствование сферы образования на территории </a:t>
                      </a:r>
                      <a:r>
                        <a:rPr lang="ru-RU" sz="1400" b="1" dirty="0" err="1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Шелеховского</a:t>
                      </a:r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района» 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047 941,7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043 519,9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026 085,7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</a:tr>
              <a:tr h="457328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.</a:t>
                      </a:r>
                      <a:r>
                        <a:rPr lang="ru-RU" sz="1400" b="1" baseline="0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«</a:t>
                      </a:r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здание условий для развития молодежной среды на территории </a:t>
                      </a:r>
                      <a:r>
                        <a:rPr lang="ru-RU" sz="1400" b="1" dirty="0" err="1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Шелеховского</a:t>
                      </a:r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района» 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 859,7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 859,7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 859,7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</a:tr>
              <a:tr h="457328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. «Развитие сферы культуры </a:t>
                      </a:r>
                      <a:r>
                        <a:rPr lang="ru-RU" sz="1400" b="1" dirty="0" err="1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Шелеховского</a:t>
                      </a:r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района» 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98 369,1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92 374,6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88 757,3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</a:tr>
              <a:tr h="501217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. «Дополнительные меры поддержки для отдельных категорий граждан </a:t>
                      </a:r>
                      <a:r>
                        <a:rPr lang="ru-RU" sz="1400" b="1" dirty="0" err="1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Шелеховского</a:t>
                      </a:r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района»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 233,0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 259,2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 320,0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</a:tr>
              <a:tr h="457328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. «Развитие</a:t>
                      </a:r>
                      <a:r>
                        <a:rPr lang="ru-RU" sz="1400" b="1" baseline="0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физической культуры и системы спортивной подготовки в </a:t>
                      </a:r>
                      <a:r>
                        <a:rPr lang="ru-RU" sz="1400" b="1" baseline="0" dirty="0" err="1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Шелеховском</a:t>
                      </a:r>
                      <a:r>
                        <a:rPr lang="ru-RU" sz="1400" b="1" baseline="0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районе» 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8 140,3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8 356,1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6 401,1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</a:tr>
              <a:tr h="457328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6.  «Обеспечение комплексных мер безопасности на территории </a:t>
                      </a:r>
                      <a:r>
                        <a:rPr lang="ru-RU" sz="1400" b="1" dirty="0" err="1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Шелеховского</a:t>
                      </a:r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района»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7 652,1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7 188,3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7 003,5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</a:tr>
              <a:tr h="609958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7. « Совершенствование механизмов управления развитием </a:t>
                      </a:r>
                      <a:r>
                        <a:rPr lang="ru-RU" sz="1400" b="1" dirty="0" err="1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Шелеховского</a:t>
                      </a:r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района»</a:t>
                      </a: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85 939,5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78 891,5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76 522,0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</a:tr>
              <a:tr h="720080">
                <a:tc>
                  <a:txBody>
                    <a:bodyPr/>
                    <a:lstStyle/>
                    <a:p>
                      <a:endParaRPr lang="ru-RU" sz="1400" b="1" dirty="0" smtClean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8. «Совершенствование механизмов управлением муниципальным имуществом»</a:t>
                      </a:r>
                    </a:p>
                    <a:p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8 226,8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5 454,6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2 764,8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</a:tr>
              <a:tr h="603820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9.</a:t>
                      </a:r>
                      <a:r>
                        <a:rPr lang="ru-RU" sz="1400" b="1" baseline="0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«Развитие коммунальной инфраструктуры и экологии </a:t>
                      </a:r>
                      <a:r>
                        <a:rPr lang="ru-RU" sz="1400" b="1" baseline="0" dirty="0" err="1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Шелеховского</a:t>
                      </a:r>
                      <a:r>
                        <a:rPr lang="ru-RU" sz="1400" b="1" baseline="0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района»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6 917,8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7 791,1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5 509,0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</a:tr>
              <a:tr h="792088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ТОГО расходов по муниципальным программам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2" marB="4573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428</a:t>
                      </a:r>
                      <a:r>
                        <a:rPr lang="ru-RU" sz="1400" b="1" baseline="0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280,0</a:t>
                      </a:r>
                    </a:p>
                    <a:p>
                      <a:pPr algn="ctr"/>
                      <a:r>
                        <a:rPr lang="ru-RU" sz="1400" b="1" u="sng" baseline="0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99,4% от объема расходов</a:t>
                      </a:r>
                      <a:endParaRPr lang="ru-RU" sz="1400" b="1" u="sng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2" marB="4573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408 695,0</a:t>
                      </a:r>
                    </a:p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99,7%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2" marB="4573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378</a:t>
                      </a:r>
                      <a:r>
                        <a:rPr lang="ru-RU" sz="1400" b="1" baseline="0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223,1</a:t>
                      </a:r>
                    </a:p>
                    <a:p>
                      <a:pPr algn="ctr"/>
                      <a:r>
                        <a:rPr lang="ru-RU" sz="1400" b="1" baseline="0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99,7%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2" marB="45732"/>
                </a:tc>
              </a:tr>
            </a:tbl>
          </a:graphicData>
        </a:graphic>
      </p:graphicFrame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RESIZE" val="Yes"/>
  <p:tag name="LLEFT" val=" 210.125"/>
  <p:tag name="LTOP" val=" 469.87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pSZtwW_O0adpfNTuRFwz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VnHWX9mwk6QmJ4rQ8GK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1_Аптека">
  <a:themeElements>
    <a:clrScheme name="Аптека">
      <a:dk1>
        <a:sysClr val="windowText" lastClr="000000"/>
      </a:dk1>
      <a:lt1>
        <a:sysClr val="window" lastClr="FFFFFF"/>
      </a:lt1>
      <a:dk2>
        <a:srgbClr val="564B3C"/>
      </a:dk2>
      <a:lt2>
        <a:srgbClr val="ECEDD1"/>
      </a:lt2>
      <a:accent1>
        <a:srgbClr val="93A299"/>
      </a:accent1>
      <a:accent2>
        <a:srgbClr val="CF543F"/>
      </a:accent2>
      <a:accent3>
        <a:srgbClr val="B5AE53"/>
      </a:accent3>
      <a:accent4>
        <a:srgbClr val="848058"/>
      </a:accent4>
      <a:accent5>
        <a:srgbClr val="E8B54D"/>
      </a:accent5>
      <a:accent6>
        <a:srgbClr val="786C71"/>
      </a:accent6>
      <a:hlink>
        <a:srgbClr val="CCCC00"/>
      </a:hlink>
      <a:folHlink>
        <a:srgbClr val="B2B2B2"/>
      </a:folHlink>
    </a:clrScheme>
    <a:fontScheme name="Аптека">
      <a:majorFont>
        <a:latin typeface="Book Antiqua"/>
        <a:ea typeface=""/>
        <a:cs typeface=""/>
        <a:font script="Jpan" typeface="HGS明朝B"/>
        <a:font script="Hang" typeface="HY견명조"/>
        <a:font script="Hans" typeface="宋体"/>
        <a:font script="Hant" typeface="新細明體"/>
        <a:font script="Arab" typeface="Times New Roman"/>
        <a:font script="Hebr" typeface="David"/>
        <a:font script="Thai" typeface="Eucrosia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HY견명조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Аптека">
      <a:fillStyleLst>
        <a:solidFill>
          <a:schemeClr val="phClr"/>
        </a:solidFill>
        <a:gradFill rotWithShape="1">
          <a:gsLst>
            <a:gs pos="0">
              <a:schemeClr val="phClr">
                <a:tint val="1000"/>
                <a:satMod val="100000"/>
              </a:schemeClr>
            </a:gs>
            <a:gs pos="68000">
              <a:schemeClr val="phClr">
                <a:tint val="77000"/>
                <a:satMod val="100000"/>
              </a:schemeClr>
            </a:gs>
            <a:gs pos="81000">
              <a:schemeClr val="phClr">
                <a:tint val="79000"/>
                <a:satMod val="100000"/>
              </a:schemeClr>
            </a:gs>
            <a:gs pos="86000">
              <a:schemeClr val="phClr">
                <a:tint val="73000"/>
                <a:satMod val="100000"/>
              </a:schemeClr>
            </a:gs>
            <a:gs pos="100000">
              <a:schemeClr val="phClr">
                <a:tint val="35000"/>
                <a:sat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73000"/>
                <a:shade val="100000"/>
                <a:satMod val="150000"/>
              </a:schemeClr>
            </a:gs>
            <a:gs pos="25000">
              <a:schemeClr val="phClr">
                <a:tint val="96000"/>
                <a:shade val="80000"/>
                <a:satMod val="105000"/>
              </a:schemeClr>
            </a:gs>
            <a:gs pos="38000">
              <a:schemeClr val="phClr">
                <a:tint val="96000"/>
                <a:shade val="59000"/>
                <a:satMod val="120000"/>
              </a:schemeClr>
            </a:gs>
            <a:gs pos="55000">
              <a:schemeClr val="phClr">
                <a:tint val="100000"/>
                <a:shade val="57000"/>
                <a:satMod val="120000"/>
              </a:schemeClr>
            </a:gs>
            <a:gs pos="80000">
              <a:schemeClr val="phClr">
                <a:tint val="100000"/>
                <a:shade val="56000"/>
                <a:satMod val="145000"/>
              </a:schemeClr>
            </a:gs>
            <a:gs pos="88000">
              <a:schemeClr val="phClr">
                <a:tint val="100000"/>
                <a:shade val="63000"/>
                <a:satMod val="160000"/>
              </a:schemeClr>
            </a:gs>
            <a:gs pos="100000">
              <a:schemeClr val="phClr">
                <a:tint val="99000"/>
                <a:shade val="100000"/>
                <a:satMod val="155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  <a:scene3d>
            <a:camera prst="orthographicFront">
              <a:rot lat="0" lon="0" rev="0"/>
            </a:camera>
            <a:lightRig rig="glow" dir="tl">
              <a:rot lat="0" lon="0" rev="1800000"/>
            </a:lightRig>
          </a:scene3d>
          <a:sp3d contourW="10160" prstMaterial="dkEdge">
            <a:bevelT w="0" h="0" prst="angle"/>
            <a:contourClr>
              <a:schemeClr val="phClr">
                <a:shade val="30000"/>
                <a:satMod val="150000"/>
              </a:schemeClr>
            </a:contourClr>
          </a:sp3d>
        </a:effectStyle>
        <a:effectStyle>
          <a:effectLst>
            <a:glow rad="50800">
              <a:schemeClr val="phClr">
                <a:tint val="68000"/>
                <a:shade val="93000"/>
                <a:alpha val="37000"/>
                <a:satMod val="25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1800000"/>
            </a:lightRig>
          </a:scene3d>
          <a:sp3d contourW="10160" prstMaterial="dkEdge">
            <a:bevelT w="20320" h="19050" prst="angle"/>
            <a:contourClr>
              <a:schemeClr val="phClr">
                <a:shade val="30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3000"/>
            <a:satMod val="140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70000"/>
                <a:satMod val="170000"/>
              </a:schemeClr>
              <a:schemeClr val="phClr">
                <a:shade val="70000"/>
                <a:satMod val="13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Аптека">
  <a:themeElements>
    <a:clrScheme name="Аптека">
      <a:dk1>
        <a:sysClr val="windowText" lastClr="000000"/>
      </a:dk1>
      <a:lt1>
        <a:sysClr val="window" lastClr="FFFFFF"/>
      </a:lt1>
      <a:dk2>
        <a:srgbClr val="564B3C"/>
      </a:dk2>
      <a:lt2>
        <a:srgbClr val="ECEDD1"/>
      </a:lt2>
      <a:accent1>
        <a:srgbClr val="93A299"/>
      </a:accent1>
      <a:accent2>
        <a:srgbClr val="CF543F"/>
      </a:accent2>
      <a:accent3>
        <a:srgbClr val="B5AE53"/>
      </a:accent3>
      <a:accent4>
        <a:srgbClr val="848058"/>
      </a:accent4>
      <a:accent5>
        <a:srgbClr val="E8B54D"/>
      </a:accent5>
      <a:accent6>
        <a:srgbClr val="786C71"/>
      </a:accent6>
      <a:hlink>
        <a:srgbClr val="CCCC00"/>
      </a:hlink>
      <a:folHlink>
        <a:srgbClr val="B2B2B2"/>
      </a:folHlink>
    </a:clrScheme>
    <a:fontScheme name="Аптека">
      <a:majorFont>
        <a:latin typeface="Book Antiqua"/>
        <a:ea typeface=""/>
        <a:cs typeface=""/>
        <a:font script="Jpan" typeface="HGS明朝B"/>
        <a:font script="Hang" typeface="HY견명조"/>
        <a:font script="Hans" typeface="宋体"/>
        <a:font script="Hant" typeface="新細明體"/>
        <a:font script="Arab" typeface="Times New Roman"/>
        <a:font script="Hebr" typeface="David"/>
        <a:font script="Thai" typeface="Eucrosia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HY견명조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Аптека">
      <a:fillStyleLst>
        <a:solidFill>
          <a:schemeClr val="phClr"/>
        </a:solidFill>
        <a:gradFill rotWithShape="1">
          <a:gsLst>
            <a:gs pos="0">
              <a:schemeClr val="phClr">
                <a:tint val="1000"/>
                <a:satMod val="100000"/>
              </a:schemeClr>
            </a:gs>
            <a:gs pos="68000">
              <a:schemeClr val="phClr">
                <a:tint val="77000"/>
                <a:satMod val="100000"/>
              </a:schemeClr>
            </a:gs>
            <a:gs pos="81000">
              <a:schemeClr val="phClr">
                <a:tint val="79000"/>
                <a:satMod val="100000"/>
              </a:schemeClr>
            </a:gs>
            <a:gs pos="86000">
              <a:schemeClr val="phClr">
                <a:tint val="73000"/>
                <a:satMod val="100000"/>
              </a:schemeClr>
            </a:gs>
            <a:gs pos="100000">
              <a:schemeClr val="phClr">
                <a:tint val="35000"/>
                <a:sat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73000"/>
                <a:shade val="100000"/>
                <a:satMod val="150000"/>
              </a:schemeClr>
            </a:gs>
            <a:gs pos="25000">
              <a:schemeClr val="phClr">
                <a:tint val="96000"/>
                <a:shade val="80000"/>
                <a:satMod val="105000"/>
              </a:schemeClr>
            </a:gs>
            <a:gs pos="38000">
              <a:schemeClr val="phClr">
                <a:tint val="96000"/>
                <a:shade val="59000"/>
                <a:satMod val="120000"/>
              </a:schemeClr>
            </a:gs>
            <a:gs pos="55000">
              <a:schemeClr val="phClr">
                <a:tint val="100000"/>
                <a:shade val="57000"/>
                <a:satMod val="120000"/>
              </a:schemeClr>
            </a:gs>
            <a:gs pos="80000">
              <a:schemeClr val="phClr">
                <a:tint val="100000"/>
                <a:shade val="56000"/>
                <a:satMod val="145000"/>
              </a:schemeClr>
            </a:gs>
            <a:gs pos="88000">
              <a:schemeClr val="phClr">
                <a:tint val="100000"/>
                <a:shade val="63000"/>
                <a:satMod val="160000"/>
              </a:schemeClr>
            </a:gs>
            <a:gs pos="100000">
              <a:schemeClr val="phClr">
                <a:tint val="99000"/>
                <a:shade val="100000"/>
                <a:satMod val="155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  <a:scene3d>
            <a:camera prst="orthographicFront">
              <a:rot lat="0" lon="0" rev="0"/>
            </a:camera>
            <a:lightRig rig="glow" dir="tl">
              <a:rot lat="0" lon="0" rev="1800000"/>
            </a:lightRig>
          </a:scene3d>
          <a:sp3d contourW="10160" prstMaterial="dkEdge">
            <a:bevelT w="0" h="0" prst="angle"/>
            <a:contourClr>
              <a:schemeClr val="phClr">
                <a:shade val="30000"/>
                <a:satMod val="150000"/>
              </a:schemeClr>
            </a:contourClr>
          </a:sp3d>
        </a:effectStyle>
        <a:effectStyle>
          <a:effectLst>
            <a:glow rad="50800">
              <a:schemeClr val="phClr">
                <a:tint val="68000"/>
                <a:shade val="93000"/>
                <a:alpha val="37000"/>
                <a:satMod val="25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1800000"/>
            </a:lightRig>
          </a:scene3d>
          <a:sp3d contourW="10160" prstMaterial="dkEdge">
            <a:bevelT w="20320" h="19050" prst="angle"/>
            <a:contourClr>
              <a:schemeClr val="phClr">
                <a:shade val="30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3000"/>
            <a:satMod val="140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70000"/>
                <a:satMod val="170000"/>
              </a:schemeClr>
              <a:schemeClr val="phClr">
                <a:shade val="70000"/>
                <a:satMod val="13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Край">
  <a:themeElements>
    <a:clrScheme name="Край 7">
      <a:dk1>
        <a:srgbClr val="000000"/>
      </a:dk1>
      <a:lt1>
        <a:srgbClr val="FFFFFF"/>
      </a:lt1>
      <a:dk2>
        <a:srgbClr val="006633"/>
      </a:dk2>
      <a:lt2>
        <a:srgbClr val="5F5F5F"/>
      </a:lt2>
      <a:accent1>
        <a:srgbClr val="CC9900"/>
      </a:accent1>
      <a:accent2>
        <a:srgbClr val="3B812F"/>
      </a:accent2>
      <a:accent3>
        <a:srgbClr val="FFFFFF"/>
      </a:accent3>
      <a:accent4>
        <a:srgbClr val="000000"/>
      </a:accent4>
      <a:accent5>
        <a:srgbClr val="E2CAAA"/>
      </a:accent5>
      <a:accent6>
        <a:srgbClr val="35742A"/>
      </a:accent6>
      <a:hlink>
        <a:srgbClr val="996600"/>
      </a:hlink>
      <a:folHlink>
        <a:srgbClr val="AFBF39"/>
      </a:folHlink>
    </a:clrScheme>
    <a:fontScheme name="Край">
      <a:majorFont>
        <a:latin typeface="Garamond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Край 1">
        <a:dk1>
          <a:srgbClr val="333333"/>
        </a:dk1>
        <a:lt1>
          <a:srgbClr val="FFFFFF"/>
        </a:lt1>
        <a:dk2>
          <a:srgbClr val="820000"/>
        </a:dk2>
        <a:lt2>
          <a:srgbClr val="FFFFFF"/>
        </a:lt2>
        <a:accent1>
          <a:srgbClr val="FF9900"/>
        </a:accent1>
        <a:accent2>
          <a:srgbClr val="CC3300"/>
        </a:accent2>
        <a:accent3>
          <a:srgbClr val="C1AAAA"/>
        </a:accent3>
        <a:accent4>
          <a:srgbClr val="DADADA"/>
        </a:accent4>
        <a:accent5>
          <a:srgbClr val="FFCAAA"/>
        </a:accent5>
        <a:accent6>
          <a:srgbClr val="B92D00"/>
        </a:accent6>
        <a:hlink>
          <a:srgbClr val="808080"/>
        </a:hlink>
        <a:folHlink>
          <a:srgbClr val="6666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Край 2">
        <a:dk1>
          <a:srgbClr val="333333"/>
        </a:dk1>
        <a:lt1>
          <a:srgbClr val="CCCCFF"/>
        </a:lt1>
        <a:dk2>
          <a:srgbClr val="0B0506"/>
        </a:dk2>
        <a:lt2>
          <a:srgbClr val="FFFFFF"/>
        </a:lt2>
        <a:accent1>
          <a:srgbClr val="3366CC"/>
        </a:accent1>
        <a:accent2>
          <a:srgbClr val="3333CC"/>
        </a:accent2>
        <a:accent3>
          <a:srgbClr val="AAAAAA"/>
        </a:accent3>
        <a:accent4>
          <a:srgbClr val="AEAEDA"/>
        </a:accent4>
        <a:accent5>
          <a:srgbClr val="ADB8E2"/>
        </a:accent5>
        <a:accent6>
          <a:srgbClr val="2D2DB9"/>
        </a:accent6>
        <a:hlink>
          <a:srgbClr val="808080"/>
        </a:hlink>
        <a:folHlink>
          <a:srgbClr val="6666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Край 3">
        <a:dk1>
          <a:srgbClr val="333333"/>
        </a:dk1>
        <a:lt1>
          <a:srgbClr val="FFFFFF"/>
        </a:lt1>
        <a:dk2>
          <a:srgbClr val="221013"/>
        </a:dk2>
        <a:lt2>
          <a:srgbClr val="FFFFFF"/>
        </a:lt2>
        <a:accent1>
          <a:srgbClr val="CC3300"/>
        </a:accent1>
        <a:accent2>
          <a:srgbClr val="CC9900"/>
        </a:accent2>
        <a:accent3>
          <a:srgbClr val="ABAAAA"/>
        </a:accent3>
        <a:accent4>
          <a:srgbClr val="DADADA"/>
        </a:accent4>
        <a:accent5>
          <a:srgbClr val="E2ADAA"/>
        </a:accent5>
        <a:accent6>
          <a:srgbClr val="B98A00"/>
        </a:accent6>
        <a:hlink>
          <a:srgbClr val="808080"/>
        </a:hlink>
        <a:folHlink>
          <a:srgbClr val="6666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Край 4">
        <a:dk1>
          <a:srgbClr val="11054B"/>
        </a:dk1>
        <a:lt1>
          <a:srgbClr val="FFFFFF"/>
        </a:lt1>
        <a:dk2>
          <a:srgbClr val="0000CC"/>
        </a:dk2>
        <a:lt2>
          <a:srgbClr val="FFFFFF"/>
        </a:lt2>
        <a:accent1>
          <a:srgbClr val="FF6600"/>
        </a:accent1>
        <a:accent2>
          <a:srgbClr val="FF3300"/>
        </a:accent2>
        <a:accent3>
          <a:srgbClr val="AAAAE2"/>
        </a:accent3>
        <a:accent4>
          <a:srgbClr val="DADADA"/>
        </a:accent4>
        <a:accent5>
          <a:srgbClr val="FFB8AA"/>
        </a:accent5>
        <a:accent6>
          <a:srgbClr val="E72D00"/>
        </a:accent6>
        <a:hlink>
          <a:srgbClr val="CC9900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Край 5">
        <a:dk1>
          <a:srgbClr val="9B8D65"/>
        </a:dk1>
        <a:lt1>
          <a:srgbClr val="F8F8F8"/>
        </a:lt1>
        <a:dk2>
          <a:srgbClr val="002600"/>
        </a:dk2>
        <a:lt2>
          <a:srgbClr val="FAFACC"/>
        </a:lt2>
        <a:accent1>
          <a:srgbClr val="CC9933"/>
        </a:accent1>
        <a:accent2>
          <a:srgbClr val="8F9967"/>
        </a:accent2>
        <a:accent3>
          <a:srgbClr val="AAACAA"/>
        </a:accent3>
        <a:accent4>
          <a:srgbClr val="D4D4D4"/>
        </a:accent4>
        <a:accent5>
          <a:srgbClr val="E2CAAD"/>
        </a:accent5>
        <a:accent6>
          <a:srgbClr val="818A5D"/>
        </a:accent6>
        <a:hlink>
          <a:srgbClr val="336600"/>
        </a:hlink>
        <a:folHlink>
          <a:srgbClr val="8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Край 6">
        <a:dk1>
          <a:srgbClr val="333333"/>
        </a:dk1>
        <a:lt1>
          <a:srgbClr val="FFFFFF"/>
        </a:lt1>
        <a:dk2>
          <a:srgbClr val="006699"/>
        </a:dk2>
        <a:lt2>
          <a:srgbClr val="FFFFFF"/>
        </a:lt2>
        <a:accent1>
          <a:srgbClr val="CC9900"/>
        </a:accent1>
        <a:accent2>
          <a:srgbClr val="FF9900"/>
        </a:accent2>
        <a:accent3>
          <a:srgbClr val="AAB8CA"/>
        </a:accent3>
        <a:accent4>
          <a:srgbClr val="DADADA"/>
        </a:accent4>
        <a:accent5>
          <a:srgbClr val="E2CAAA"/>
        </a:accent5>
        <a:accent6>
          <a:srgbClr val="E78A00"/>
        </a:accent6>
        <a:hlink>
          <a:srgbClr val="FFCC00"/>
        </a:hlink>
        <a:folHlink>
          <a:srgbClr val="706F3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Край 7">
        <a:dk1>
          <a:srgbClr val="000000"/>
        </a:dk1>
        <a:lt1>
          <a:srgbClr val="FFFFFF"/>
        </a:lt1>
        <a:dk2>
          <a:srgbClr val="006633"/>
        </a:dk2>
        <a:lt2>
          <a:srgbClr val="5F5F5F"/>
        </a:lt2>
        <a:accent1>
          <a:srgbClr val="CC9900"/>
        </a:accent1>
        <a:accent2>
          <a:srgbClr val="3B812F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35742A"/>
        </a:accent6>
        <a:hlink>
          <a:srgbClr val="996600"/>
        </a:hlink>
        <a:folHlink>
          <a:srgbClr val="AFBF3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Край 8">
        <a:dk1>
          <a:srgbClr val="000000"/>
        </a:dk1>
        <a:lt1>
          <a:srgbClr val="FFFFFF"/>
        </a:lt1>
        <a:dk2>
          <a:srgbClr val="CC0000"/>
        </a:dk2>
        <a:lt2>
          <a:srgbClr val="666699"/>
        </a:lt2>
        <a:accent1>
          <a:srgbClr val="808080"/>
        </a:accent1>
        <a:accent2>
          <a:srgbClr val="999933"/>
        </a:accent2>
        <a:accent3>
          <a:srgbClr val="FFFFFF"/>
        </a:accent3>
        <a:accent4>
          <a:srgbClr val="000000"/>
        </a:accent4>
        <a:accent5>
          <a:srgbClr val="C0C0C0"/>
        </a:accent5>
        <a:accent6>
          <a:srgbClr val="8A8A2D"/>
        </a:accent6>
        <a:hlink>
          <a:srgbClr val="4C6D80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Край 9">
        <a:dk1>
          <a:srgbClr val="000000"/>
        </a:dk1>
        <a:lt1>
          <a:srgbClr val="FFFFFF"/>
        </a:lt1>
        <a:dk2>
          <a:srgbClr val="003399"/>
        </a:dk2>
        <a:lt2>
          <a:srgbClr val="666699"/>
        </a:lt2>
        <a:accent1>
          <a:srgbClr val="009999"/>
        </a:accent1>
        <a:accent2>
          <a:srgbClr val="4C6D4E"/>
        </a:accent2>
        <a:accent3>
          <a:srgbClr val="FFFFFF"/>
        </a:accent3>
        <a:accent4>
          <a:srgbClr val="000000"/>
        </a:accent4>
        <a:accent5>
          <a:srgbClr val="AACACA"/>
        </a:accent5>
        <a:accent6>
          <a:srgbClr val="446246"/>
        </a:accent6>
        <a:hlink>
          <a:srgbClr val="4C6D80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Аптека">
  <a:themeElements>
    <a:clrScheme name="Городская">
      <a:dk1>
        <a:sysClr val="windowText" lastClr="000000"/>
      </a:dk1>
      <a:lt1>
        <a:sysClr val="window" lastClr="FFFFFF"/>
      </a:lt1>
      <a:dk2>
        <a:srgbClr val="424456"/>
      </a:dk2>
      <a:lt2>
        <a:srgbClr val="DEDEDE"/>
      </a:lt2>
      <a:accent1>
        <a:srgbClr val="53548A"/>
      </a:accent1>
      <a:accent2>
        <a:srgbClr val="438086"/>
      </a:accent2>
      <a:accent3>
        <a:srgbClr val="A04DA3"/>
      </a:accent3>
      <a:accent4>
        <a:srgbClr val="C4652D"/>
      </a:accent4>
      <a:accent5>
        <a:srgbClr val="8B5D3D"/>
      </a:accent5>
      <a:accent6>
        <a:srgbClr val="5C92B5"/>
      </a:accent6>
      <a:hlink>
        <a:srgbClr val="67AFBD"/>
      </a:hlink>
      <a:folHlink>
        <a:srgbClr val="C2A874"/>
      </a:folHlink>
    </a:clrScheme>
    <a:fontScheme name="Аптека">
      <a:majorFont>
        <a:latin typeface="Book Antiqua"/>
        <a:ea typeface=""/>
        <a:cs typeface=""/>
        <a:font script="Jpan" typeface="HGS明朝B"/>
        <a:font script="Hang" typeface="HY견명조"/>
        <a:font script="Hans" typeface="宋体"/>
        <a:font script="Hant" typeface="新細明體"/>
        <a:font script="Arab" typeface="Times New Roman"/>
        <a:font script="Hebr" typeface="David"/>
        <a:font script="Thai" typeface="Eucrosia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HY견명조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Аптека">
      <a:fillStyleLst>
        <a:solidFill>
          <a:schemeClr val="phClr"/>
        </a:solidFill>
        <a:gradFill rotWithShape="1">
          <a:gsLst>
            <a:gs pos="0">
              <a:schemeClr val="phClr">
                <a:tint val="1000"/>
                <a:satMod val="100000"/>
              </a:schemeClr>
            </a:gs>
            <a:gs pos="68000">
              <a:schemeClr val="phClr">
                <a:tint val="77000"/>
                <a:satMod val="100000"/>
              </a:schemeClr>
            </a:gs>
            <a:gs pos="81000">
              <a:schemeClr val="phClr">
                <a:tint val="79000"/>
                <a:satMod val="100000"/>
              </a:schemeClr>
            </a:gs>
            <a:gs pos="86000">
              <a:schemeClr val="phClr">
                <a:tint val="73000"/>
                <a:satMod val="100000"/>
              </a:schemeClr>
            </a:gs>
            <a:gs pos="100000">
              <a:schemeClr val="phClr">
                <a:tint val="35000"/>
                <a:sat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73000"/>
                <a:shade val="100000"/>
                <a:satMod val="150000"/>
              </a:schemeClr>
            </a:gs>
            <a:gs pos="25000">
              <a:schemeClr val="phClr">
                <a:tint val="96000"/>
                <a:shade val="80000"/>
                <a:satMod val="105000"/>
              </a:schemeClr>
            </a:gs>
            <a:gs pos="38000">
              <a:schemeClr val="phClr">
                <a:tint val="96000"/>
                <a:shade val="59000"/>
                <a:satMod val="120000"/>
              </a:schemeClr>
            </a:gs>
            <a:gs pos="55000">
              <a:schemeClr val="phClr">
                <a:tint val="100000"/>
                <a:shade val="57000"/>
                <a:satMod val="120000"/>
              </a:schemeClr>
            </a:gs>
            <a:gs pos="80000">
              <a:schemeClr val="phClr">
                <a:tint val="100000"/>
                <a:shade val="56000"/>
                <a:satMod val="145000"/>
              </a:schemeClr>
            </a:gs>
            <a:gs pos="88000">
              <a:schemeClr val="phClr">
                <a:tint val="100000"/>
                <a:shade val="63000"/>
                <a:satMod val="160000"/>
              </a:schemeClr>
            </a:gs>
            <a:gs pos="100000">
              <a:schemeClr val="phClr">
                <a:tint val="99000"/>
                <a:shade val="100000"/>
                <a:satMod val="155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  <a:scene3d>
            <a:camera prst="orthographicFront">
              <a:rot lat="0" lon="0" rev="0"/>
            </a:camera>
            <a:lightRig rig="glow" dir="tl">
              <a:rot lat="0" lon="0" rev="1800000"/>
            </a:lightRig>
          </a:scene3d>
          <a:sp3d contourW="10160" prstMaterial="dkEdge">
            <a:bevelT w="0" h="0" prst="angle"/>
            <a:contourClr>
              <a:schemeClr val="phClr">
                <a:shade val="30000"/>
                <a:satMod val="150000"/>
              </a:schemeClr>
            </a:contourClr>
          </a:sp3d>
        </a:effectStyle>
        <a:effectStyle>
          <a:effectLst>
            <a:glow rad="50800">
              <a:schemeClr val="phClr">
                <a:tint val="68000"/>
                <a:shade val="93000"/>
                <a:alpha val="37000"/>
                <a:satMod val="25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1800000"/>
            </a:lightRig>
          </a:scene3d>
          <a:sp3d contourW="10160" prstMaterial="dkEdge">
            <a:bevelT w="20320" h="19050" prst="angle"/>
            <a:contourClr>
              <a:schemeClr val="phClr">
                <a:shade val="30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3000"/>
            <a:satMod val="140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70000"/>
                <a:satMod val="170000"/>
              </a:schemeClr>
              <a:schemeClr val="phClr">
                <a:shade val="70000"/>
                <a:satMod val="13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Universal Template_RU">
  <a:themeElements>
    <a:clrScheme name="Universal Template_RU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Universal Template_R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DDDDDD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DDDDDD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Universal Template_RU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3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F8DFF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557FE7"/>
        </a:accent6>
        <a:hlink>
          <a:srgbClr val="96C5F8"/>
        </a:hlink>
        <a:folHlink>
          <a:srgbClr val="D8E9F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4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2960"/>
        </a:accent1>
        <a:accent2>
          <a:srgbClr val="0066CC"/>
        </a:accent2>
        <a:accent3>
          <a:srgbClr val="AAAAAA"/>
        </a:accent3>
        <a:accent4>
          <a:srgbClr val="DADADA"/>
        </a:accent4>
        <a:accent5>
          <a:srgbClr val="AAACB6"/>
        </a:accent5>
        <a:accent6>
          <a:srgbClr val="005CB9"/>
        </a:accent6>
        <a:hlink>
          <a:srgbClr val="91B0FF"/>
        </a:hlink>
        <a:folHlink>
          <a:srgbClr val="C7E0FB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E7B95C"/>
        </a:accent6>
        <a:hlink>
          <a:srgbClr val="4F8636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6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7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AAA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8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9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0A2A0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10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174A7C"/>
        </a:accent1>
        <a:accent2>
          <a:srgbClr val="50A2A0"/>
        </a:accent2>
        <a:accent3>
          <a:srgbClr val="AAAAAA"/>
        </a:accent3>
        <a:accent4>
          <a:srgbClr val="DADADA"/>
        </a:accent4>
        <a:accent5>
          <a:srgbClr val="ABB1BF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pothecary</Template>
  <TotalTime>14000</TotalTime>
  <Words>1201</Words>
  <Application>Microsoft Office PowerPoint</Application>
  <PresentationFormat>Экран (4:3)</PresentationFormat>
  <Paragraphs>367</Paragraphs>
  <Slides>19</Slides>
  <Notes>8</Notes>
  <HiddenSlides>0</HiddenSlides>
  <MMClips>0</MMClips>
  <ScaleCrop>false</ScaleCrop>
  <HeadingPairs>
    <vt:vector size="6" baseType="variant">
      <vt:variant>
        <vt:lpstr>Тема</vt:lpstr>
      </vt:variant>
      <vt:variant>
        <vt:i4>5</vt:i4>
      </vt:variant>
      <vt:variant>
        <vt:lpstr>Внедренные серверы OLE</vt:lpstr>
      </vt:variant>
      <vt:variant>
        <vt:i4>3</vt:i4>
      </vt:variant>
      <vt:variant>
        <vt:lpstr>Заголовки слайдов</vt:lpstr>
      </vt:variant>
      <vt:variant>
        <vt:i4>19</vt:i4>
      </vt:variant>
    </vt:vector>
  </HeadingPairs>
  <TitlesOfParts>
    <vt:vector size="27" baseType="lpstr">
      <vt:lpstr>1_Аптека</vt:lpstr>
      <vt:lpstr>Аптека</vt:lpstr>
      <vt:lpstr>Край</vt:lpstr>
      <vt:lpstr>3_Аптека</vt:lpstr>
      <vt:lpstr>Universal Template_RU</vt:lpstr>
      <vt:lpstr>TCLayout.ActiveDocument</vt:lpstr>
      <vt:lpstr>Диаграмма</vt:lpstr>
      <vt:lpstr>Лист</vt:lpstr>
      <vt:lpstr>  Проект бюджета Шелеховского района НА  2019 год и  на плановый период 2020 и 2021 годов   </vt:lpstr>
      <vt:lpstr>Динамика доходов за 2018-2021 годы, тыс. руб. </vt:lpstr>
      <vt:lpstr>Динамика доходов за 2018-2019 годы </vt:lpstr>
      <vt:lpstr>Динамика налоговых доходов, тыс. руб.</vt:lpstr>
      <vt:lpstr>Динамика  неналоговых доходов Шелеховского района  в 2018 – 2019 гг.        (тыс. рублей)</vt:lpstr>
      <vt:lpstr>Презентация PowerPoint</vt:lpstr>
      <vt:lpstr>Презентация PowerPoint</vt:lpstr>
      <vt:lpstr>Структура Расходов бюджета Шелеховского района в 2019-2021 годах, млн. рублей</vt:lpstr>
      <vt:lpstr>Презентация PowerPoint</vt:lpstr>
      <vt:lpstr>Структура расходов в 2018 году</vt:lpstr>
      <vt:lpstr>Запланировано на реализацию приоритетных мероприятий на 2019-2021 годы </vt:lpstr>
      <vt:lpstr>Запланировано на реализацию приоритетных мероприятий на 2019-2021 годы </vt:lpstr>
      <vt:lpstr>Запланировано на реализацию приоритетных мероприятий на 2019-2021 годы </vt:lpstr>
      <vt:lpstr>Запланировано на реализацию приоритетных мероприятий на 2019-2021 годы </vt:lpstr>
      <vt:lpstr>Запланировано на реализацию приоритетных мероприятий на 2019-2021 годы </vt:lpstr>
      <vt:lpstr>Межбюджетные трансферты бюджетам поселений Шелеховского района  в 2018-2021г.г.(тыс. рублей)</vt:lpstr>
      <vt:lpstr>Основные параметры бюджета на 2019 год и на плановый период 2020 и 2021 годов, тыс. руб.</vt:lpstr>
      <vt:lpstr>Уровень муниципального долга</vt:lpstr>
      <vt:lpstr>Презентация PowerPoint</vt:lpstr>
    </vt:vector>
  </TitlesOfParts>
  <Company>RIA Novosti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хема  взаимодействия участников процесса перевода государственных учреждений, предоставляющих социальные услуги,  в форму автономных учреждений</dc:title>
  <dc:creator>student</dc:creator>
  <cp:lastModifiedBy>Иванова Ольга Анатольевна</cp:lastModifiedBy>
  <cp:revision>1112</cp:revision>
  <cp:lastPrinted>2018-12-11T09:18:51Z</cp:lastPrinted>
  <dcterms:created xsi:type="dcterms:W3CDTF">2006-07-06T13:04:56Z</dcterms:created>
  <dcterms:modified xsi:type="dcterms:W3CDTF">2018-12-11T09:18:57Z</dcterms:modified>
</cp:coreProperties>
</file>